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1" r:id="rId3"/>
  </p:sldMasterIdLst>
  <p:notesMasterIdLst>
    <p:notesMasterId r:id="rId7"/>
  </p:notesMasterIdLst>
  <p:handoutMasterIdLst>
    <p:handoutMasterId r:id="rId8"/>
  </p:handoutMasterIdLst>
  <p:sldIdLst>
    <p:sldId id="285" r:id="rId4"/>
    <p:sldId id="287" r:id="rId5"/>
    <p:sldId id="288" r:id="rId6"/>
  </p:sldIdLst>
  <p:sldSz cx="12192000" cy="6858000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3049E77E-5245-4344-992E-9E9112702DC1}">
          <p14:sldIdLst>
            <p14:sldId id="285"/>
            <p14:sldId id="287"/>
            <p14:sldId id="2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63" autoAdjust="0"/>
    <p:restoredTop sz="94595" autoAdjust="0"/>
  </p:normalViewPr>
  <p:slideViewPr>
    <p:cSldViewPr snapToGrid="0" showGuides="1">
      <p:cViewPr varScale="1">
        <p:scale>
          <a:sx n="73" d="100"/>
          <a:sy n="73" d="100"/>
        </p:scale>
        <p:origin x="401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7" d="100"/>
          <a:sy n="87" d="100"/>
        </p:scale>
        <p:origin x="384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3FA834A-3217-4E83-A6C2-230C3CEB21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AE1167B-FA37-460E-8706-819234B3CF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AE265-C203-4919-AEA6-93F7BA9EFE3F}" type="datetimeFigureOut">
              <a:rPr lang="en-US" smtClean="0"/>
              <a:t>4/5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CF8E2F-F2B4-453C-A007-04C48A2DA89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AD66B2-5067-47B2-824B-7C9E01DF07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9E4BA-B3AD-4FC0-9188-882671B9E35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857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2942-7DA4-4982-947E-7C86B31CA5A6}" type="datetimeFigureOut">
              <a:rPr lang="en-US" smtClean="0"/>
              <a:t>4/5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80000" lvl="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Font typeface="Verdana" panose="020B0604030504040204" pitchFamily="34" charset="0"/>
              <a:buChar char="›"/>
            </a:pPr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A5EF31-077D-4FB6-AF92-597AB2DCCF2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544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Franklin Gothic Book" panose="020B0503020102020204" pitchFamily="34" charset="0"/>
      <a:buChar char="›"/>
      <a:defRPr lang="de-DE" sz="1400" kern="1200" dirty="0" smtClean="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36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4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90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8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6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4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20000" indent="-180000" algn="l" defTabSz="914400" rtl="0" eaLnBrk="1" latinLnBrk="0" hangingPunct="1">
      <a:lnSpc>
        <a:spcPct val="100000"/>
      </a:lnSpc>
      <a:spcBef>
        <a:spcPts val="0"/>
      </a:spcBef>
      <a:spcAft>
        <a:spcPts val="600"/>
      </a:spcAft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Objekt 54" hidden="1">
            <a:extLst>
              <a:ext uri="{FF2B5EF4-FFF2-40B4-BE49-F238E27FC236}">
                <a16:creationId xmlns:a16="http://schemas.microsoft.com/office/drawing/2014/main" id="{12DF3151-C3D6-7673-B994-63A80039B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501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480" imgH="481" progId="TCLayout.ActiveDocument.1">
                  <p:embed/>
                </p:oleObj>
              </mc:Choice>
              <mc:Fallback>
                <p:oleObj name="think-cell Folie" r:id="rId4" imgW="480" imgH="481" progId="TCLayout.ActiveDocument.1">
                  <p:embed/>
                  <p:pic>
                    <p:nvPicPr>
                      <p:cNvPr id="55" name="Objekt 54" hidden="1">
                        <a:extLst>
                          <a:ext uri="{FF2B5EF4-FFF2-40B4-BE49-F238E27FC236}">
                            <a16:creationId xmlns:a16="http://schemas.microsoft.com/office/drawing/2014/main" id="{12DF3151-C3D6-7673-B994-63A80039B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EF02C7-9F18-CD8D-E0BF-ED21CBD99E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55688" y="1830844"/>
            <a:ext cx="6516000" cy="118186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4800" dirty="0">
                <a:latin typeface="+mj-lt"/>
              </a:defRPr>
            </a:lvl1pPr>
          </a:lstStyle>
          <a:p>
            <a:pPr marL="0" lvl="0"/>
            <a:r>
              <a:rPr lang="en-GB" noProof="0" dirty="0"/>
              <a:t>Title</a:t>
            </a:r>
            <a:r>
              <a:rPr lang="en-GB" noProof="0"/>
              <a:t>, Franklin </a:t>
            </a:r>
            <a:r>
              <a:rPr lang="en-GB" noProof="0" dirty="0"/>
              <a:t>Gothic Medium, 48p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AC4F6F1-342F-D6B8-D6BF-EE88786087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3690500"/>
            <a:ext cx="6516687" cy="215444"/>
          </a:xfrm>
        </p:spPr>
        <p:txBody>
          <a:bodyPr wrap="square">
            <a:spAutoFit/>
          </a:bodyPr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Authors</a:t>
            </a:r>
          </a:p>
        </p:txBody>
      </p: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3A69FEC5-5DFF-469F-8F3F-8862D3B0FD64}"/>
              </a:ext>
            </a:extLst>
          </p:cNvPr>
          <p:cNvSpPr>
            <a:spLocks/>
          </p:cNvSpPr>
          <p:nvPr userDrawn="1"/>
        </p:nvSpPr>
        <p:spPr>
          <a:xfrm rot="10626543">
            <a:off x="-18451" y="4914965"/>
            <a:ext cx="12210451" cy="141024"/>
          </a:xfrm>
          <a:custGeom>
            <a:avLst/>
            <a:gdLst>
              <a:gd name="connsiteX0" fmla="*/ 12210451 w 12210451"/>
              <a:gd name="connsiteY0" fmla="*/ 0 h 141024"/>
              <a:gd name="connsiteX1" fmla="*/ 12204153 w 12210451"/>
              <a:gd name="connsiteY1" fmla="*/ 141024 h 141024"/>
              <a:gd name="connsiteX2" fmla="*/ 0 w 12210451"/>
              <a:gd name="connsiteY2" fmla="*/ 141024 h 141024"/>
              <a:gd name="connsiteX3" fmla="*/ 6299 w 12210451"/>
              <a:gd name="connsiteY3" fmla="*/ 0 h 141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10451" h="141024">
                <a:moveTo>
                  <a:pt x="12210451" y="0"/>
                </a:moveTo>
                <a:lnTo>
                  <a:pt x="12204153" y="141024"/>
                </a:lnTo>
                <a:lnTo>
                  <a:pt x="0" y="141024"/>
                </a:lnTo>
                <a:lnTo>
                  <a:pt x="6299" y="0"/>
                </a:lnTo>
                <a:close/>
              </a:path>
            </a:pathLst>
          </a:custGeom>
          <a:gradFill>
            <a:gsLst>
              <a:gs pos="0">
                <a:srgbClr val="0F3F8F"/>
              </a:gs>
              <a:gs pos="100000">
                <a:schemeClr val="bg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 noProof="0" dirty="0">
              <a:solidFill>
                <a:schemeClr val="bg2"/>
              </a:solidFill>
            </a:endParaRPr>
          </a:p>
        </p:txBody>
      </p:sp>
      <p:sp>
        <p:nvSpPr>
          <p:cNvPr id="143" name="Titel 1">
            <a:extLst>
              <a:ext uri="{FF2B5EF4-FFF2-40B4-BE49-F238E27FC236}">
                <a16:creationId xmlns:a16="http://schemas.microsoft.com/office/drawing/2014/main" id="{49920183-64FB-45FA-B148-EE0A0D958954}"/>
              </a:ext>
            </a:extLst>
          </p:cNvPr>
          <p:cNvSpPr txBox="1">
            <a:spLocks/>
          </p:cNvSpPr>
          <p:nvPr userDrawn="1"/>
        </p:nvSpPr>
        <p:spPr>
          <a:xfrm>
            <a:off x="9092895" y="5095466"/>
            <a:ext cx="2907639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CLF</a:t>
            </a:r>
            <a:b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</a:br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13TH CONFERENCE ON </a:t>
            </a:r>
          </a:p>
          <a:p>
            <a:pPr algn="r"/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LEARNING FACTORIES </a:t>
            </a:r>
            <a:b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</a:br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9-11 MAY 2023</a:t>
            </a:r>
            <a:b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</a:br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REUTLINGEN UNIVERSITY</a:t>
            </a:r>
            <a:b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</a:br>
            <a:r>
              <a:rPr lang="en-GB" sz="2000" kern="1200" noProof="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GERMANY 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B953C9E0-95B7-4C56-90DB-EB9BBA05379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46715" y="180355"/>
            <a:ext cx="1477963" cy="528637"/>
          </a:xfrm>
        </p:spPr>
        <p:txBody>
          <a:bodyPr/>
          <a:lstStyle>
            <a:lvl1pPr>
              <a:defRPr lang="en-GB" sz="1400" kern="1200" noProof="0" dirty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noProof="0" dirty="0"/>
              <a:t>You can place your logo(s) here</a:t>
            </a:r>
          </a:p>
          <a:p>
            <a:endParaRPr lang="de-DE" dirty="0"/>
          </a:p>
        </p:txBody>
      </p: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61F11E24-CD00-406A-9232-0891CF3A33D1}"/>
              </a:ext>
            </a:extLst>
          </p:cNvPr>
          <p:cNvGrpSpPr/>
          <p:nvPr userDrawn="1"/>
        </p:nvGrpSpPr>
        <p:grpSpPr>
          <a:xfrm>
            <a:off x="1047504" y="5790688"/>
            <a:ext cx="6264710" cy="752944"/>
            <a:chOff x="1055687" y="620826"/>
            <a:chExt cx="6264710" cy="752944"/>
          </a:xfrm>
        </p:grpSpPr>
        <p:grpSp>
          <p:nvGrpSpPr>
            <p:cNvPr id="150" name="Gruppieren 149">
              <a:extLst>
                <a:ext uri="{FF2B5EF4-FFF2-40B4-BE49-F238E27FC236}">
                  <a16:creationId xmlns:a16="http://schemas.microsoft.com/office/drawing/2014/main" id="{E1F8AA32-09A7-41BD-AA5B-171F0FBA8FAC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4816528" y="647004"/>
              <a:ext cx="2503869" cy="676420"/>
              <a:chOff x="8478545" y="5246530"/>
              <a:chExt cx="1667065" cy="403002"/>
            </a:xfrm>
          </p:grpSpPr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967B32B8-29CC-47A7-8504-F126B22DAF79}"/>
                  </a:ext>
                </a:extLst>
              </p:cNvPr>
              <p:cNvSpPr/>
              <p:nvPr/>
            </p:nvSpPr>
            <p:spPr>
              <a:xfrm>
                <a:off x="8478545" y="5510658"/>
                <a:ext cx="192690" cy="79152"/>
              </a:xfrm>
              <a:custGeom>
                <a:avLst/>
                <a:gdLst>
                  <a:gd name="connsiteX0" fmla="*/ 192596 w 192690"/>
                  <a:gd name="connsiteY0" fmla="*/ 61913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4 h 79152"/>
                  <a:gd name="connsiteX8" fmla="*/ 92012 w 192690"/>
                  <a:gd name="connsiteY8" fmla="*/ 12764 h 79152"/>
                  <a:gd name="connsiteX9" fmla="*/ 89821 w 192690"/>
                  <a:gd name="connsiteY9" fmla="*/ 14954 h 79152"/>
                  <a:gd name="connsiteX10" fmla="*/ 89821 w 192690"/>
                  <a:gd name="connsiteY10" fmla="*/ 19241 h 79152"/>
                  <a:gd name="connsiteX11" fmla="*/ 130493 w 192690"/>
                  <a:gd name="connsiteY11" fmla="*/ 19241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1 h 79152"/>
                  <a:gd name="connsiteX15" fmla="*/ 141161 w 192690"/>
                  <a:gd name="connsiteY15" fmla="*/ 19241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8 h 79152"/>
                  <a:gd name="connsiteX27" fmla="*/ 27813 w 192690"/>
                  <a:gd name="connsiteY27" fmla="*/ 25718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6 h 79152"/>
                  <a:gd name="connsiteX39" fmla="*/ 17145 w 192690"/>
                  <a:gd name="connsiteY39" fmla="*/ 70676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626 h 79152"/>
                  <a:gd name="connsiteX46" fmla="*/ 132779 w 192690"/>
                  <a:gd name="connsiteY46" fmla="*/ 70580 h 79152"/>
                  <a:gd name="connsiteX47" fmla="*/ 117824 w 192690"/>
                  <a:gd name="connsiteY47" fmla="*/ 70580 h 79152"/>
                  <a:gd name="connsiteX48" fmla="*/ 115634 w 192690"/>
                  <a:gd name="connsiteY48" fmla="*/ 72771 h 79152"/>
                  <a:gd name="connsiteX49" fmla="*/ 115634 w 192690"/>
                  <a:gd name="connsiteY49" fmla="*/ 79153 h 79152"/>
                  <a:gd name="connsiteX50" fmla="*/ 139160 w 192690"/>
                  <a:gd name="connsiteY50" fmla="*/ 79153 h 79152"/>
                  <a:gd name="connsiteX51" fmla="*/ 162687 w 192690"/>
                  <a:gd name="connsiteY51" fmla="*/ 55626 h 79152"/>
                  <a:gd name="connsiteX52" fmla="*/ 179832 w 192690"/>
                  <a:gd name="connsiteY52" fmla="*/ 70580 h 79152"/>
                  <a:gd name="connsiteX53" fmla="*/ 166973 w 192690"/>
                  <a:gd name="connsiteY53" fmla="*/ 70580 h 79152"/>
                  <a:gd name="connsiteX54" fmla="*/ 164783 w 192690"/>
                  <a:gd name="connsiteY54" fmla="*/ 72771 h 79152"/>
                  <a:gd name="connsiteX55" fmla="*/ 164783 w 192690"/>
                  <a:gd name="connsiteY55" fmla="*/ 79153 h 79152"/>
                  <a:gd name="connsiteX56" fmla="*/ 190500 w 192690"/>
                  <a:gd name="connsiteY56" fmla="*/ 79153 h 79152"/>
                  <a:gd name="connsiteX57" fmla="*/ 192691 w 192690"/>
                  <a:gd name="connsiteY57" fmla="*/ 77057 h 79152"/>
                  <a:gd name="connsiteX58" fmla="*/ 192691 w 192690"/>
                  <a:gd name="connsiteY58" fmla="*/ 62103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3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4"/>
                    </a:lnTo>
                    <a:lnTo>
                      <a:pt x="92012" y="12764"/>
                    </a:lnTo>
                    <a:lnTo>
                      <a:pt x="89821" y="14954"/>
                    </a:lnTo>
                    <a:lnTo>
                      <a:pt x="89821" y="19241"/>
                    </a:lnTo>
                    <a:lnTo>
                      <a:pt x="130493" y="19241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1"/>
                    </a:lnTo>
                    <a:lnTo>
                      <a:pt x="141161" y="19241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8"/>
                    </a:lnTo>
                    <a:lnTo>
                      <a:pt x="27813" y="25718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6"/>
                    </a:lnTo>
                    <a:lnTo>
                      <a:pt x="17145" y="70676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626"/>
                      <a:pt x="132779" y="51626"/>
                    </a:cubicBezTo>
                    <a:lnTo>
                      <a:pt x="132779" y="70580"/>
                    </a:lnTo>
                    <a:lnTo>
                      <a:pt x="117824" y="70580"/>
                    </a:lnTo>
                    <a:lnTo>
                      <a:pt x="115634" y="72771"/>
                    </a:lnTo>
                    <a:lnTo>
                      <a:pt x="115634" y="79153"/>
                    </a:lnTo>
                    <a:lnTo>
                      <a:pt x="139160" y="79153"/>
                    </a:lnTo>
                    <a:lnTo>
                      <a:pt x="162687" y="55626"/>
                    </a:lnTo>
                    <a:lnTo>
                      <a:pt x="179832" y="70580"/>
                    </a:lnTo>
                    <a:lnTo>
                      <a:pt x="166973" y="70580"/>
                    </a:lnTo>
                    <a:lnTo>
                      <a:pt x="164783" y="72771"/>
                    </a:lnTo>
                    <a:lnTo>
                      <a:pt x="164783" y="79153"/>
                    </a:lnTo>
                    <a:lnTo>
                      <a:pt x="190500" y="79153"/>
                    </a:lnTo>
                    <a:lnTo>
                      <a:pt x="192691" y="77057"/>
                    </a:lnTo>
                    <a:lnTo>
                      <a:pt x="192691" y="6210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210E2CFB-D9C1-4F6D-B05F-FA2779A646AB}"/>
                  </a:ext>
                </a:extLst>
              </p:cNvPr>
              <p:cNvSpPr/>
              <p:nvPr/>
            </p:nvSpPr>
            <p:spPr>
              <a:xfrm>
                <a:off x="8478545" y="5397120"/>
                <a:ext cx="192690" cy="79152"/>
              </a:xfrm>
              <a:custGeom>
                <a:avLst/>
                <a:gdLst>
                  <a:gd name="connsiteX0" fmla="*/ 192596 w 192690"/>
                  <a:gd name="connsiteY0" fmla="*/ 61912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3 h 79152"/>
                  <a:gd name="connsiteX8" fmla="*/ 92012 w 192690"/>
                  <a:gd name="connsiteY8" fmla="*/ 12763 h 79152"/>
                  <a:gd name="connsiteX9" fmla="*/ 89821 w 192690"/>
                  <a:gd name="connsiteY9" fmla="*/ 14954 h 79152"/>
                  <a:gd name="connsiteX10" fmla="*/ 89821 w 192690"/>
                  <a:gd name="connsiteY10" fmla="*/ 19240 h 79152"/>
                  <a:gd name="connsiteX11" fmla="*/ 130493 w 192690"/>
                  <a:gd name="connsiteY11" fmla="*/ 19240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0 h 79152"/>
                  <a:gd name="connsiteX15" fmla="*/ 141161 w 192690"/>
                  <a:gd name="connsiteY15" fmla="*/ 19240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7 h 79152"/>
                  <a:gd name="connsiteX27" fmla="*/ 27813 w 192690"/>
                  <a:gd name="connsiteY27" fmla="*/ 25717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5 h 79152"/>
                  <a:gd name="connsiteX39" fmla="*/ 17145 w 192690"/>
                  <a:gd name="connsiteY39" fmla="*/ 70675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530 h 79152"/>
                  <a:gd name="connsiteX46" fmla="*/ 132779 w 192690"/>
                  <a:gd name="connsiteY46" fmla="*/ 70485 h 79152"/>
                  <a:gd name="connsiteX47" fmla="*/ 117824 w 192690"/>
                  <a:gd name="connsiteY47" fmla="*/ 70485 h 79152"/>
                  <a:gd name="connsiteX48" fmla="*/ 115634 w 192690"/>
                  <a:gd name="connsiteY48" fmla="*/ 72676 h 79152"/>
                  <a:gd name="connsiteX49" fmla="*/ 115634 w 192690"/>
                  <a:gd name="connsiteY49" fmla="*/ 79058 h 79152"/>
                  <a:gd name="connsiteX50" fmla="*/ 139160 w 192690"/>
                  <a:gd name="connsiteY50" fmla="*/ 79058 h 79152"/>
                  <a:gd name="connsiteX51" fmla="*/ 162687 w 192690"/>
                  <a:gd name="connsiteY51" fmla="*/ 55531 h 79152"/>
                  <a:gd name="connsiteX52" fmla="*/ 179832 w 192690"/>
                  <a:gd name="connsiteY52" fmla="*/ 70485 h 79152"/>
                  <a:gd name="connsiteX53" fmla="*/ 166973 w 192690"/>
                  <a:gd name="connsiteY53" fmla="*/ 70485 h 79152"/>
                  <a:gd name="connsiteX54" fmla="*/ 164783 w 192690"/>
                  <a:gd name="connsiteY54" fmla="*/ 72676 h 79152"/>
                  <a:gd name="connsiteX55" fmla="*/ 164783 w 192690"/>
                  <a:gd name="connsiteY55" fmla="*/ 79058 h 79152"/>
                  <a:gd name="connsiteX56" fmla="*/ 190500 w 192690"/>
                  <a:gd name="connsiteY56" fmla="*/ 79058 h 79152"/>
                  <a:gd name="connsiteX57" fmla="*/ 192691 w 192690"/>
                  <a:gd name="connsiteY57" fmla="*/ 76962 h 79152"/>
                  <a:gd name="connsiteX58" fmla="*/ 192691 w 192690"/>
                  <a:gd name="connsiteY58" fmla="*/ 62008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2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3"/>
                    </a:lnTo>
                    <a:lnTo>
                      <a:pt x="92012" y="12763"/>
                    </a:lnTo>
                    <a:lnTo>
                      <a:pt x="89821" y="14954"/>
                    </a:lnTo>
                    <a:lnTo>
                      <a:pt x="89821" y="19240"/>
                    </a:lnTo>
                    <a:lnTo>
                      <a:pt x="130493" y="19240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0"/>
                    </a:lnTo>
                    <a:lnTo>
                      <a:pt x="141161" y="19240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7"/>
                    </a:lnTo>
                    <a:lnTo>
                      <a:pt x="27813" y="25717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5"/>
                    </a:lnTo>
                    <a:lnTo>
                      <a:pt x="17145" y="70675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676"/>
                    </a:lnTo>
                    <a:lnTo>
                      <a:pt x="115634" y="79058"/>
                    </a:lnTo>
                    <a:lnTo>
                      <a:pt x="139160" y="79058"/>
                    </a:lnTo>
                    <a:lnTo>
                      <a:pt x="162687" y="55531"/>
                    </a:lnTo>
                    <a:lnTo>
                      <a:pt x="179832" y="70485"/>
                    </a:lnTo>
                    <a:lnTo>
                      <a:pt x="166973" y="70485"/>
                    </a:lnTo>
                    <a:lnTo>
                      <a:pt x="164783" y="72676"/>
                    </a:lnTo>
                    <a:lnTo>
                      <a:pt x="164783" y="79058"/>
                    </a:lnTo>
                    <a:lnTo>
                      <a:pt x="190500" y="79058"/>
                    </a:lnTo>
                    <a:lnTo>
                      <a:pt x="192691" y="76962"/>
                    </a:lnTo>
                    <a:lnTo>
                      <a:pt x="192691" y="6200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5" name="Freihandform: Form 174">
                <a:extLst>
                  <a:ext uri="{FF2B5EF4-FFF2-40B4-BE49-F238E27FC236}">
                    <a16:creationId xmlns:a16="http://schemas.microsoft.com/office/drawing/2014/main" id="{121DF837-915A-44E0-8025-BE08F2CB8913}"/>
                  </a:ext>
                </a:extLst>
              </p:cNvPr>
              <p:cNvSpPr/>
              <p:nvPr/>
            </p:nvSpPr>
            <p:spPr>
              <a:xfrm>
                <a:off x="8478545" y="5283487"/>
                <a:ext cx="192690" cy="79057"/>
              </a:xfrm>
              <a:custGeom>
                <a:avLst/>
                <a:gdLst>
                  <a:gd name="connsiteX0" fmla="*/ 192596 w 192690"/>
                  <a:gd name="connsiteY0" fmla="*/ 62008 h 79057"/>
                  <a:gd name="connsiteX1" fmla="*/ 177641 w 192690"/>
                  <a:gd name="connsiteY1" fmla="*/ 47053 h 79057"/>
                  <a:gd name="connsiteX2" fmla="*/ 177641 w 192690"/>
                  <a:gd name="connsiteY2" fmla="*/ 27813 h 79057"/>
                  <a:gd name="connsiteX3" fmla="*/ 181928 w 192690"/>
                  <a:gd name="connsiteY3" fmla="*/ 23527 h 79057"/>
                  <a:gd name="connsiteX4" fmla="*/ 181928 w 192690"/>
                  <a:gd name="connsiteY4" fmla="*/ 8573 h 79057"/>
                  <a:gd name="connsiteX5" fmla="*/ 177641 w 192690"/>
                  <a:gd name="connsiteY5" fmla="*/ 4286 h 79057"/>
                  <a:gd name="connsiteX6" fmla="*/ 134874 w 192690"/>
                  <a:gd name="connsiteY6" fmla="*/ 4286 h 79057"/>
                  <a:gd name="connsiteX7" fmla="*/ 126302 w 192690"/>
                  <a:gd name="connsiteY7" fmla="*/ 12859 h 79057"/>
                  <a:gd name="connsiteX8" fmla="*/ 92012 w 192690"/>
                  <a:gd name="connsiteY8" fmla="*/ 12859 h 79057"/>
                  <a:gd name="connsiteX9" fmla="*/ 89916 w 192690"/>
                  <a:gd name="connsiteY9" fmla="*/ 14954 h 79057"/>
                  <a:gd name="connsiteX10" fmla="*/ 89916 w 192690"/>
                  <a:gd name="connsiteY10" fmla="*/ 19241 h 79057"/>
                  <a:gd name="connsiteX11" fmla="*/ 130588 w 192690"/>
                  <a:gd name="connsiteY11" fmla="*/ 19241 h 79057"/>
                  <a:gd name="connsiteX12" fmla="*/ 139160 w 192690"/>
                  <a:gd name="connsiteY12" fmla="*/ 10668 h 79057"/>
                  <a:gd name="connsiteX13" fmla="*/ 175546 w 192690"/>
                  <a:gd name="connsiteY13" fmla="*/ 10668 h 79057"/>
                  <a:gd name="connsiteX14" fmla="*/ 175546 w 192690"/>
                  <a:gd name="connsiteY14" fmla="*/ 19241 h 79057"/>
                  <a:gd name="connsiteX15" fmla="*/ 141256 w 192690"/>
                  <a:gd name="connsiteY15" fmla="*/ 19241 h 79057"/>
                  <a:gd name="connsiteX16" fmla="*/ 132683 w 192690"/>
                  <a:gd name="connsiteY16" fmla="*/ 27813 h 79057"/>
                  <a:gd name="connsiteX17" fmla="*/ 85630 w 192690"/>
                  <a:gd name="connsiteY17" fmla="*/ 27813 h 79057"/>
                  <a:gd name="connsiteX18" fmla="*/ 72771 w 192690"/>
                  <a:gd name="connsiteY18" fmla="*/ 14954 h 79057"/>
                  <a:gd name="connsiteX19" fmla="*/ 70676 w 192690"/>
                  <a:gd name="connsiteY19" fmla="*/ 0 h 79057"/>
                  <a:gd name="connsiteX20" fmla="*/ 66389 w 192690"/>
                  <a:gd name="connsiteY20" fmla="*/ 6382 h 79057"/>
                  <a:gd name="connsiteX21" fmla="*/ 34195 w 192690"/>
                  <a:gd name="connsiteY21" fmla="*/ 6382 h 79057"/>
                  <a:gd name="connsiteX22" fmla="*/ 34195 w 192690"/>
                  <a:gd name="connsiteY22" fmla="*/ 8477 h 79057"/>
                  <a:gd name="connsiteX23" fmla="*/ 27813 w 192690"/>
                  <a:gd name="connsiteY23" fmla="*/ 12763 h 79057"/>
                  <a:gd name="connsiteX24" fmla="*/ 27813 w 192690"/>
                  <a:gd name="connsiteY24" fmla="*/ 21336 h 79057"/>
                  <a:gd name="connsiteX25" fmla="*/ 36386 w 192690"/>
                  <a:gd name="connsiteY25" fmla="*/ 21336 h 79057"/>
                  <a:gd name="connsiteX26" fmla="*/ 32099 w 192690"/>
                  <a:gd name="connsiteY26" fmla="*/ 25622 h 79057"/>
                  <a:gd name="connsiteX27" fmla="*/ 27813 w 192690"/>
                  <a:gd name="connsiteY27" fmla="*/ 25622 h 79057"/>
                  <a:gd name="connsiteX28" fmla="*/ 27813 w 192690"/>
                  <a:gd name="connsiteY28" fmla="*/ 29908 h 79057"/>
                  <a:gd name="connsiteX29" fmla="*/ 29909 w 192690"/>
                  <a:gd name="connsiteY29" fmla="*/ 32004 h 79057"/>
                  <a:gd name="connsiteX30" fmla="*/ 47149 w 192690"/>
                  <a:gd name="connsiteY30" fmla="*/ 32004 h 79057"/>
                  <a:gd name="connsiteX31" fmla="*/ 42863 w 192690"/>
                  <a:gd name="connsiteY31" fmla="*/ 44863 h 79057"/>
                  <a:gd name="connsiteX32" fmla="*/ 36290 w 192690"/>
                  <a:gd name="connsiteY32" fmla="*/ 44863 h 79057"/>
                  <a:gd name="connsiteX33" fmla="*/ 21336 w 192690"/>
                  <a:gd name="connsiteY33" fmla="*/ 32004 h 79057"/>
                  <a:gd name="connsiteX34" fmla="*/ 2096 w 192690"/>
                  <a:gd name="connsiteY34" fmla="*/ 32004 h 79057"/>
                  <a:gd name="connsiteX35" fmla="*/ 0 w 192690"/>
                  <a:gd name="connsiteY35" fmla="*/ 34195 h 79057"/>
                  <a:gd name="connsiteX36" fmla="*/ 0 w 192690"/>
                  <a:gd name="connsiteY36" fmla="*/ 40577 h 79057"/>
                  <a:gd name="connsiteX37" fmla="*/ 17145 w 192690"/>
                  <a:gd name="connsiteY37" fmla="*/ 40577 h 79057"/>
                  <a:gd name="connsiteX38" fmla="*/ 47149 w 192690"/>
                  <a:gd name="connsiteY38" fmla="*/ 70580 h 79057"/>
                  <a:gd name="connsiteX39" fmla="*/ 17145 w 192690"/>
                  <a:gd name="connsiteY39" fmla="*/ 70580 h 79057"/>
                  <a:gd name="connsiteX40" fmla="*/ 14954 w 192690"/>
                  <a:gd name="connsiteY40" fmla="*/ 72676 h 79057"/>
                  <a:gd name="connsiteX41" fmla="*/ 14954 w 192690"/>
                  <a:gd name="connsiteY41" fmla="*/ 79058 h 79057"/>
                  <a:gd name="connsiteX42" fmla="*/ 64770 w 192690"/>
                  <a:gd name="connsiteY42" fmla="*/ 79058 h 79057"/>
                  <a:gd name="connsiteX43" fmla="*/ 74962 w 192690"/>
                  <a:gd name="connsiteY43" fmla="*/ 68390 h 79057"/>
                  <a:gd name="connsiteX44" fmla="*/ 109823 w 192690"/>
                  <a:gd name="connsiteY44" fmla="*/ 60198 h 79057"/>
                  <a:gd name="connsiteX45" fmla="*/ 132779 w 192690"/>
                  <a:gd name="connsiteY45" fmla="*/ 51530 h 79057"/>
                  <a:gd name="connsiteX46" fmla="*/ 132779 w 192690"/>
                  <a:gd name="connsiteY46" fmla="*/ 70485 h 79057"/>
                  <a:gd name="connsiteX47" fmla="*/ 117824 w 192690"/>
                  <a:gd name="connsiteY47" fmla="*/ 70485 h 79057"/>
                  <a:gd name="connsiteX48" fmla="*/ 115634 w 192690"/>
                  <a:gd name="connsiteY48" fmla="*/ 72581 h 79057"/>
                  <a:gd name="connsiteX49" fmla="*/ 115634 w 192690"/>
                  <a:gd name="connsiteY49" fmla="*/ 78962 h 79057"/>
                  <a:gd name="connsiteX50" fmla="*/ 139160 w 192690"/>
                  <a:gd name="connsiteY50" fmla="*/ 78962 h 79057"/>
                  <a:gd name="connsiteX51" fmla="*/ 162687 w 192690"/>
                  <a:gd name="connsiteY51" fmla="*/ 55435 h 79057"/>
                  <a:gd name="connsiteX52" fmla="*/ 179832 w 192690"/>
                  <a:gd name="connsiteY52" fmla="*/ 70390 h 79057"/>
                  <a:gd name="connsiteX53" fmla="*/ 166973 w 192690"/>
                  <a:gd name="connsiteY53" fmla="*/ 70390 h 79057"/>
                  <a:gd name="connsiteX54" fmla="*/ 164783 w 192690"/>
                  <a:gd name="connsiteY54" fmla="*/ 72485 h 79057"/>
                  <a:gd name="connsiteX55" fmla="*/ 164783 w 192690"/>
                  <a:gd name="connsiteY55" fmla="*/ 78867 h 79057"/>
                  <a:gd name="connsiteX56" fmla="*/ 190500 w 192690"/>
                  <a:gd name="connsiteY56" fmla="*/ 78867 h 79057"/>
                  <a:gd name="connsiteX57" fmla="*/ 192691 w 192690"/>
                  <a:gd name="connsiteY57" fmla="*/ 76771 h 79057"/>
                  <a:gd name="connsiteX58" fmla="*/ 192691 w 192690"/>
                  <a:gd name="connsiteY58" fmla="*/ 61817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057">
                    <a:moveTo>
                      <a:pt x="192596" y="62008"/>
                    </a:moveTo>
                    <a:lnTo>
                      <a:pt x="177641" y="47053"/>
                    </a:lnTo>
                    <a:lnTo>
                      <a:pt x="177641" y="27813"/>
                    </a:lnTo>
                    <a:lnTo>
                      <a:pt x="181928" y="23527"/>
                    </a:lnTo>
                    <a:lnTo>
                      <a:pt x="181928" y="8573"/>
                    </a:lnTo>
                    <a:lnTo>
                      <a:pt x="177641" y="4286"/>
                    </a:lnTo>
                    <a:lnTo>
                      <a:pt x="134874" y="4286"/>
                    </a:lnTo>
                    <a:lnTo>
                      <a:pt x="126302" y="12859"/>
                    </a:lnTo>
                    <a:lnTo>
                      <a:pt x="92012" y="12859"/>
                    </a:lnTo>
                    <a:lnTo>
                      <a:pt x="89916" y="14954"/>
                    </a:lnTo>
                    <a:lnTo>
                      <a:pt x="89916" y="19241"/>
                    </a:lnTo>
                    <a:lnTo>
                      <a:pt x="130588" y="19241"/>
                    </a:lnTo>
                    <a:lnTo>
                      <a:pt x="139160" y="10668"/>
                    </a:lnTo>
                    <a:lnTo>
                      <a:pt x="175546" y="10668"/>
                    </a:lnTo>
                    <a:lnTo>
                      <a:pt x="175546" y="19241"/>
                    </a:lnTo>
                    <a:lnTo>
                      <a:pt x="141256" y="19241"/>
                    </a:lnTo>
                    <a:lnTo>
                      <a:pt x="132683" y="27813"/>
                    </a:lnTo>
                    <a:lnTo>
                      <a:pt x="85630" y="27813"/>
                    </a:lnTo>
                    <a:lnTo>
                      <a:pt x="72771" y="14954"/>
                    </a:lnTo>
                    <a:cubicBezTo>
                      <a:pt x="72771" y="14954"/>
                      <a:pt x="74200" y="4953"/>
                      <a:pt x="70676" y="0"/>
                    </a:cubicBezTo>
                    <a:lnTo>
                      <a:pt x="66389" y="6382"/>
                    </a:lnTo>
                    <a:lnTo>
                      <a:pt x="34195" y="6382"/>
                    </a:lnTo>
                    <a:lnTo>
                      <a:pt x="34195" y="8477"/>
                    </a:lnTo>
                    <a:lnTo>
                      <a:pt x="27813" y="12763"/>
                    </a:lnTo>
                    <a:lnTo>
                      <a:pt x="27813" y="21336"/>
                    </a:lnTo>
                    <a:lnTo>
                      <a:pt x="36386" y="21336"/>
                    </a:lnTo>
                    <a:lnTo>
                      <a:pt x="32099" y="25622"/>
                    </a:lnTo>
                    <a:lnTo>
                      <a:pt x="27813" y="25622"/>
                    </a:lnTo>
                    <a:lnTo>
                      <a:pt x="27813" y="29908"/>
                    </a:lnTo>
                    <a:lnTo>
                      <a:pt x="29909" y="32004"/>
                    </a:lnTo>
                    <a:lnTo>
                      <a:pt x="47149" y="32004"/>
                    </a:lnTo>
                    <a:lnTo>
                      <a:pt x="42863" y="44863"/>
                    </a:lnTo>
                    <a:lnTo>
                      <a:pt x="36290" y="44863"/>
                    </a:lnTo>
                    <a:lnTo>
                      <a:pt x="21336" y="32004"/>
                    </a:lnTo>
                    <a:lnTo>
                      <a:pt x="2096" y="32004"/>
                    </a:lnTo>
                    <a:lnTo>
                      <a:pt x="0" y="34195"/>
                    </a:lnTo>
                    <a:lnTo>
                      <a:pt x="0" y="40577"/>
                    </a:lnTo>
                    <a:lnTo>
                      <a:pt x="17145" y="40577"/>
                    </a:lnTo>
                    <a:lnTo>
                      <a:pt x="47149" y="70580"/>
                    </a:lnTo>
                    <a:lnTo>
                      <a:pt x="17145" y="70580"/>
                    </a:lnTo>
                    <a:lnTo>
                      <a:pt x="14954" y="72676"/>
                    </a:lnTo>
                    <a:lnTo>
                      <a:pt x="14954" y="79058"/>
                    </a:lnTo>
                    <a:lnTo>
                      <a:pt x="64770" y="79058"/>
                    </a:lnTo>
                    <a:lnTo>
                      <a:pt x="74962" y="68390"/>
                    </a:lnTo>
                    <a:cubicBezTo>
                      <a:pt x="74962" y="68390"/>
                      <a:pt x="92964" y="70485"/>
                      <a:pt x="109823" y="60198"/>
                    </a:cubicBezTo>
                    <a:cubicBezTo>
                      <a:pt x="121253" y="53150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581"/>
                    </a:lnTo>
                    <a:lnTo>
                      <a:pt x="115634" y="78962"/>
                    </a:lnTo>
                    <a:lnTo>
                      <a:pt x="139160" y="78962"/>
                    </a:lnTo>
                    <a:lnTo>
                      <a:pt x="162687" y="55435"/>
                    </a:lnTo>
                    <a:lnTo>
                      <a:pt x="179832" y="70390"/>
                    </a:lnTo>
                    <a:lnTo>
                      <a:pt x="166973" y="70390"/>
                    </a:lnTo>
                    <a:lnTo>
                      <a:pt x="164783" y="72485"/>
                    </a:lnTo>
                    <a:lnTo>
                      <a:pt x="164783" y="78867"/>
                    </a:lnTo>
                    <a:lnTo>
                      <a:pt x="190500" y="78867"/>
                    </a:lnTo>
                    <a:lnTo>
                      <a:pt x="192691" y="76771"/>
                    </a:lnTo>
                    <a:lnTo>
                      <a:pt x="192691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C9988791-950F-4A06-A0C5-343B3C5094D9}"/>
                  </a:ext>
                </a:extLst>
              </p:cNvPr>
              <p:cNvSpPr/>
              <p:nvPr/>
            </p:nvSpPr>
            <p:spPr>
              <a:xfrm>
                <a:off x="8765056" y="5246530"/>
                <a:ext cx="22955" cy="403002"/>
              </a:xfrm>
              <a:custGeom>
                <a:avLst/>
                <a:gdLst>
                  <a:gd name="connsiteX0" fmla="*/ 22955 w 22955"/>
                  <a:gd name="connsiteY0" fmla="*/ 22860 h 403002"/>
                  <a:gd name="connsiteX1" fmla="*/ 22955 w 22955"/>
                  <a:gd name="connsiteY1" fmla="*/ 380048 h 403002"/>
                  <a:gd name="connsiteX2" fmla="*/ 0 w 22955"/>
                  <a:gd name="connsiteY2" fmla="*/ 403003 h 403002"/>
                  <a:gd name="connsiteX3" fmla="*/ 0 w 22955"/>
                  <a:gd name="connsiteY3" fmla="*/ 0 h 403002"/>
                  <a:gd name="connsiteX4" fmla="*/ 22955 w 22955"/>
                  <a:gd name="connsiteY4" fmla="*/ 22860 h 40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55" h="403002">
                    <a:moveTo>
                      <a:pt x="22955" y="22860"/>
                    </a:moveTo>
                    <a:lnTo>
                      <a:pt x="22955" y="380048"/>
                    </a:lnTo>
                    <a:lnTo>
                      <a:pt x="0" y="403003"/>
                    </a:lnTo>
                    <a:lnTo>
                      <a:pt x="0" y="0"/>
                    </a:lnTo>
                    <a:lnTo>
                      <a:pt x="22955" y="22860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E0C899B4-E2A6-4343-927A-565E58C94EF9}"/>
                  </a:ext>
                </a:extLst>
              </p:cNvPr>
              <p:cNvSpPr/>
              <p:nvPr/>
            </p:nvSpPr>
            <p:spPr>
              <a:xfrm>
                <a:off x="8876499" y="5290249"/>
                <a:ext cx="57054" cy="79724"/>
              </a:xfrm>
              <a:custGeom>
                <a:avLst/>
                <a:gdLst>
                  <a:gd name="connsiteX0" fmla="*/ 43053 w 57054"/>
                  <a:gd name="connsiteY0" fmla="*/ 79724 h 79724"/>
                  <a:gd name="connsiteX1" fmla="*/ 43053 w 57054"/>
                  <a:gd name="connsiteY1" fmla="*/ 46768 h 79724"/>
                  <a:gd name="connsiteX2" fmla="*/ 14002 w 57054"/>
                  <a:gd name="connsiteY2" fmla="*/ 46768 h 79724"/>
                  <a:gd name="connsiteX3" fmla="*/ 14002 w 57054"/>
                  <a:gd name="connsiteY3" fmla="*/ 79724 h 79724"/>
                  <a:gd name="connsiteX4" fmla="*/ 0 w 57054"/>
                  <a:gd name="connsiteY4" fmla="*/ 79724 h 79724"/>
                  <a:gd name="connsiteX5" fmla="*/ 0 w 57054"/>
                  <a:gd name="connsiteY5" fmla="*/ 0 h 79724"/>
                  <a:gd name="connsiteX6" fmla="*/ 14002 w 57054"/>
                  <a:gd name="connsiteY6" fmla="*/ 0 h 79724"/>
                  <a:gd name="connsiteX7" fmla="*/ 14002 w 57054"/>
                  <a:gd name="connsiteY7" fmla="*/ 33433 h 79724"/>
                  <a:gd name="connsiteX8" fmla="*/ 43053 w 57054"/>
                  <a:gd name="connsiteY8" fmla="*/ 33433 h 79724"/>
                  <a:gd name="connsiteX9" fmla="*/ 43053 w 57054"/>
                  <a:gd name="connsiteY9" fmla="*/ 0 h 79724"/>
                  <a:gd name="connsiteX10" fmla="*/ 57055 w 57054"/>
                  <a:gd name="connsiteY10" fmla="*/ 0 h 79724"/>
                  <a:gd name="connsiteX11" fmla="*/ 57055 w 57054"/>
                  <a:gd name="connsiteY11" fmla="*/ 79724 h 79724"/>
                  <a:gd name="connsiteX12" fmla="*/ 43053 w 57054"/>
                  <a:gd name="connsiteY12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054" h="79724">
                    <a:moveTo>
                      <a:pt x="43053" y="79724"/>
                    </a:moveTo>
                    <a:lnTo>
                      <a:pt x="43053" y="46768"/>
                    </a:lnTo>
                    <a:lnTo>
                      <a:pt x="14002" y="46768"/>
                    </a:lnTo>
                    <a:lnTo>
                      <a:pt x="14002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4002" y="0"/>
                    </a:lnTo>
                    <a:lnTo>
                      <a:pt x="14002" y="33433"/>
                    </a:lnTo>
                    <a:lnTo>
                      <a:pt x="43053" y="33433"/>
                    </a:lnTo>
                    <a:lnTo>
                      <a:pt x="43053" y="0"/>
                    </a:lnTo>
                    <a:lnTo>
                      <a:pt x="57055" y="0"/>
                    </a:lnTo>
                    <a:lnTo>
                      <a:pt x="57055" y="79724"/>
                    </a:lnTo>
                    <a:lnTo>
                      <a:pt x="43053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5CA6B11F-B535-4DB2-BD86-6C8BC0B29DB9}"/>
                  </a:ext>
                </a:extLst>
              </p:cNvPr>
              <p:cNvSpPr/>
              <p:nvPr/>
            </p:nvSpPr>
            <p:spPr>
              <a:xfrm>
                <a:off x="8953080" y="5311776"/>
                <a:ext cx="49339" cy="58864"/>
              </a:xfrm>
              <a:custGeom>
                <a:avLst/>
                <a:gdLst>
                  <a:gd name="connsiteX0" fmla="*/ 47053 w 49339"/>
                  <a:gd name="connsiteY0" fmla="*/ 49530 h 58864"/>
                  <a:gd name="connsiteX1" fmla="*/ 40672 w 49339"/>
                  <a:gd name="connsiteY1" fmla="*/ 56102 h 58864"/>
                  <a:gd name="connsiteX2" fmla="*/ 30956 w 49339"/>
                  <a:gd name="connsiteY2" fmla="*/ 58865 h 58864"/>
                  <a:gd name="connsiteX3" fmla="*/ 18478 w 49339"/>
                  <a:gd name="connsiteY3" fmla="*/ 58865 h 58864"/>
                  <a:gd name="connsiteX4" fmla="*/ 8858 w 49339"/>
                  <a:gd name="connsiteY4" fmla="*/ 56102 h 58864"/>
                  <a:gd name="connsiteX5" fmla="*/ 2286 w 49339"/>
                  <a:gd name="connsiteY5" fmla="*/ 49530 h 58864"/>
                  <a:gd name="connsiteX6" fmla="*/ 0 w 49339"/>
                  <a:gd name="connsiteY6" fmla="*/ 41434 h 58864"/>
                  <a:gd name="connsiteX7" fmla="*/ 0 w 49339"/>
                  <a:gd name="connsiteY7" fmla="*/ 17431 h 58864"/>
                  <a:gd name="connsiteX8" fmla="*/ 2286 w 49339"/>
                  <a:gd name="connsiteY8" fmla="*/ 9335 h 58864"/>
                  <a:gd name="connsiteX9" fmla="*/ 8858 w 49339"/>
                  <a:gd name="connsiteY9" fmla="*/ 2953 h 58864"/>
                  <a:gd name="connsiteX10" fmla="*/ 18478 w 49339"/>
                  <a:gd name="connsiteY10" fmla="*/ 0 h 58864"/>
                  <a:gd name="connsiteX11" fmla="*/ 30956 w 49339"/>
                  <a:gd name="connsiteY11" fmla="*/ 0 h 58864"/>
                  <a:gd name="connsiteX12" fmla="*/ 40672 w 49339"/>
                  <a:gd name="connsiteY12" fmla="*/ 2953 h 58864"/>
                  <a:gd name="connsiteX13" fmla="*/ 47053 w 49339"/>
                  <a:gd name="connsiteY13" fmla="*/ 9335 h 58864"/>
                  <a:gd name="connsiteX14" fmla="*/ 49340 w 49339"/>
                  <a:gd name="connsiteY14" fmla="*/ 17431 h 58864"/>
                  <a:gd name="connsiteX15" fmla="*/ 49340 w 49339"/>
                  <a:gd name="connsiteY15" fmla="*/ 41434 h 58864"/>
                  <a:gd name="connsiteX16" fmla="*/ 47053 w 49339"/>
                  <a:gd name="connsiteY16" fmla="*/ 49530 h 58864"/>
                  <a:gd name="connsiteX17" fmla="*/ 13335 w 49339"/>
                  <a:gd name="connsiteY17" fmla="*/ 42101 h 58864"/>
                  <a:gd name="connsiteX18" fmla="*/ 17717 w 49339"/>
                  <a:gd name="connsiteY18" fmla="*/ 46101 h 58864"/>
                  <a:gd name="connsiteX19" fmla="*/ 18478 w 49339"/>
                  <a:gd name="connsiteY19" fmla="*/ 46196 h 58864"/>
                  <a:gd name="connsiteX20" fmla="*/ 30766 w 49339"/>
                  <a:gd name="connsiteY20" fmla="*/ 46196 h 58864"/>
                  <a:gd name="connsiteX21" fmla="*/ 31528 w 49339"/>
                  <a:gd name="connsiteY21" fmla="*/ 45911 h 58864"/>
                  <a:gd name="connsiteX22" fmla="*/ 35909 w 49339"/>
                  <a:gd name="connsiteY22" fmla="*/ 42005 h 58864"/>
                  <a:gd name="connsiteX23" fmla="*/ 35909 w 49339"/>
                  <a:gd name="connsiteY23" fmla="*/ 17717 h 58864"/>
                  <a:gd name="connsiteX24" fmla="*/ 35814 w 49339"/>
                  <a:gd name="connsiteY24" fmla="*/ 16955 h 58864"/>
                  <a:gd name="connsiteX25" fmla="*/ 31432 w 49339"/>
                  <a:gd name="connsiteY25" fmla="*/ 12668 h 58864"/>
                  <a:gd name="connsiteX26" fmla="*/ 30766 w 49339"/>
                  <a:gd name="connsiteY26" fmla="*/ 12573 h 58864"/>
                  <a:gd name="connsiteX27" fmla="*/ 18478 w 49339"/>
                  <a:gd name="connsiteY27" fmla="*/ 12573 h 58864"/>
                  <a:gd name="connsiteX28" fmla="*/ 17812 w 49339"/>
                  <a:gd name="connsiteY28" fmla="*/ 12668 h 58864"/>
                  <a:gd name="connsiteX29" fmla="*/ 13430 w 49339"/>
                  <a:gd name="connsiteY29" fmla="*/ 16955 h 58864"/>
                  <a:gd name="connsiteX30" fmla="*/ 13335 w 49339"/>
                  <a:gd name="connsiteY30" fmla="*/ 17717 h 58864"/>
                  <a:gd name="connsiteX31" fmla="*/ 13335 w 49339"/>
                  <a:gd name="connsiteY31" fmla="*/ 4200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9339" h="58864">
                    <a:moveTo>
                      <a:pt x="47053" y="49530"/>
                    </a:moveTo>
                    <a:cubicBezTo>
                      <a:pt x="46006" y="51149"/>
                      <a:pt x="42672" y="54578"/>
                      <a:pt x="40672" y="56102"/>
                    </a:cubicBezTo>
                    <a:cubicBezTo>
                      <a:pt x="38005" y="58007"/>
                      <a:pt x="34290" y="58865"/>
                      <a:pt x="30956" y="58865"/>
                    </a:cubicBezTo>
                    <a:lnTo>
                      <a:pt x="18478" y="58865"/>
                    </a:lnTo>
                    <a:cubicBezTo>
                      <a:pt x="15145" y="58865"/>
                      <a:pt x="11525" y="57912"/>
                      <a:pt x="8858" y="56102"/>
                    </a:cubicBezTo>
                    <a:cubicBezTo>
                      <a:pt x="6858" y="54674"/>
                      <a:pt x="3429" y="51149"/>
                      <a:pt x="2286" y="49530"/>
                    </a:cubicBezTo>
                    <a:cubicBezTo>
                      <a:pt x="476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381" y="11811"/>
                      <a:pt x="2286" y="9335"/>
                    </a:cubicBezTo>
                    <a:cubicBezTo>
                      <a:pt x="3334" y="7715"/>
                      <a:pt x="6858" y="4382"/>
                      <a:pt x="8858" y="2953"/>
                    </a:cubicBezTo>
                    <a:cubicBezTo>
                      <a:pt x="11525" y="1048"/>
                      <a:pt x="15145" y="0"/>
                      <a:pt x="18478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3" y="9335"/>
                    </a:cubicBezTo>
                    <a:cubicBezTo>
                      <a:pt x="48958" y="11906"/>
                      <a:pt x="49340" y="14764"/>
                      <a:pt x="49340" y="17431"/>
                    </a:cubicBezTo>
                    <a:lnTo>
                      <a:pt x="49340" y="41434"/>
                    </a:lnTo>
                    <a:cubicBezTo>
                      <a:pt x="49340" y="44101"/>
                      <a:pt x="48958" y="47054"/>
                      <a:pt x="47053" y="49530"/>
                    </a:cubicBezTo>
                    <a:moveTo>
                      <a:pt x="13335" y="42101"/>
                    </a:moveTo>
                    <a:cubicBezTo>
                      <a:pt x="13335" y="43148"/>
                      <a:pt x="16097" y="45149"/>
                      <a:pt x="17717" y="46101"/>
                    </a:cubicBezTo>
                    <a:cubicBezTo>
                      <a:pt x="17717" y="46101"/>
                      <a:pt x="18002" y="46196"/>
                      <a:pt x="18478" y="46196"/>
                    </a:cubicBezTo>
                    <a:lnTo>
                      <a:pt x="30766" y="46196"/>
                    </a:lnTo>
                    <a:cubicBezTo>
                      <a:pt x="30766" y="46196"/>
                      <a:pt x="31337" y="46101"/>
                      <a:pt x="31528" y="45911"/>
                    </a:cubicBezTo>
                    <a:cubicBezTo>
                      <a:pt x="32766" y="45244"/>
                      <a:pt x="35814" y="43148"/>
                      <a:pt x="35909" y="42005"/>
                    </a:cubicBezTo>
                    <a:lnTo>
                      <a:pt x="35909" y="17717"/>
                    </a:lnTo>
                    <a:cubicBezTo>
                      <a:pt x="35909" y="17717"/>
                      <a:pt x="35909" y="17336"/>
                      <a:pt x="35814" y="16955"/>
                    </a:cubicBezTo>
                    <a:cubicBezTo>
                      <a:pt x="35052" y="15621"/>
                      <a:pt x="33052" y="13621"/>
                      <a:pt x="31432" y="12668"/>
                    </a:cubicBezTo>
                    <a:cubicBezTo>
                      <a:pt x="31147" y="12573"/>
                      <a:pt x="31052" y="12573"/>
                      <a:pt x="30766" y="12573"/>
                    </a:cubicBezTo>
                    <a:lnTo>
                      <a:pt x="18478" y="12573"/>
                    </a:lnTo>
                    <a:cubicBezTo>
                      <a:pt x="18478" y="12573"/>
                      <a:pt x="18098" y="12573"/>
                      <a:pt x="17812" y="12668"/>
                    </a:cubicBezTo>
                    <a:cubicBezTo>
                      <a:pt x="16193" y="13621"/>
                      <a:pt x="14383" y="15335"/>
                      <a:pt x="13430" y="16955"/>
                    </a:cubicBezTo>
                    <a:cubicBezTo>
                      <a:pt x="13335" y="17240"/>
                      <a:pt x="13335" y="17717"/>
                      <a:pt x="13335" y="17717"/>
                    </a:cubicBezTo>
                    <a:lnTo>
                      <a:pt x="13335" y="42005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1B090125-0F9E-49E0-9C5D-A19FF9BFB55E}"/>
                  </a:ext>
                </a:extLst>
              </p:cNvPr>
              <p:cNvSpPr/>
              <p:nvPr/>
            </p:nvSpPr>
            <p:spPr>
              <a:xfrm>
                <a:off x="9022136" y="5311681"/>
                <a:ext cx="49434" cy="58864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8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8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576 w 49434"/>
                  <a:gd name="connsiteY21" fmla="*/ 16954 h 58864"/>
                  <a:gd name="connsiteX22" fmla="*/ 36195 w 49434"/>
                  <a:gd name="connsiteY22" fmla="*/ 16383 h 58864"/>
                  <a:gd name="connsiteX23" fmla="*/ 31242 w 49434"/>
                  <a:gd name="connsiteY23" fmla="*/ 12668 h 58864"/>
                  <a:gd name="connsiteX24" fmla="*/ 18764 w 49434"/>
                  <a:gd name="connsiteY24" fmla="*/ 12668 h 58864"/>
                  <a:gd name="connsiteX25" fmla="*/ 18002 w 49434"/>
                  <a:gd name="connsiteY25" fmla="*/ 12764 h 58864"/>
                  <a:gd name="connsiteX26" fmla="*/ 13621 w 49434"/>
                  <a:gd name="connsiteY26" fmla="*/ 16764 h 58864"/>
                  <a:gd name="connsiteX27" fmla="*/ 13526 w 49434"/>
                  <a:gd name="connsiteY27" fmla="*/ 17716 h 58864"/>
                  <a:gd name="connsiteX28" fmla="*/ 13526 w 49434"/>
                  <a:gd name="connsiteY28" fmla="*/ 41339 h 58864"/>
                  <a:gd name="connsiteX29" fmla="*/ 13526 w 49434"/>
                  <a:gd name="connsiteY29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8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0" y="58865"/>
                      <a:pt x="31242" y="58865"/>
                    </a:cubicBezTo>
                    <a:lnTo>
                      <a:pt x="18478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2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2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8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576" y="16954"/>
                    </a:lnTo>
                    <a:cubicBezTo>
                      <a:pt x="36576" y="16954"/>
                      <a:pt x="36481" y="16669"/>
                      <a:pt x="36195" y="16383"/>
                    </a:cubicBezTo>
                    <a:cubicBezTo>
                      <a:pt x="35433" y="15430"/>
                      <a:pt x="32576" y="12668"/>
                      <a:pt x="31242" y="12668"/>
                    </a:cubicBezTo>
                    <a:lnTo>
                      <a:pt x="18764" y="12668"/>
                    </a:lnTo>
                    <a:cubicBezTo>
                      <a:pt x="18764" y="12668"/>
                      <a:pt x="18193" y="12668"/>
                      <a:pt x="18002" y="12764"/>
                    </a:cubicBezTo>
                    <a:cubicBezTo>
                      <a:pt x="16383" y="13716"/>
                      <a:pt x="14573" y="15145"/>
                      <a:pt x="13621" y="16764"/>
                    </a:cubicBezTo>
                    <a:cubicBezTo>
                      <a:pt x="13526" y="17050"/>
                      <a:pt x="13526" y="17716"/>
                      <a:pt x="13526" y="17716"/>
                    </a:cubicBezTo>
                    <a:lnTo>
                      <a:pt x="13526" y="41339"/>
                    </a:lnTo>
                    <a:lnTo>
                      <a:pt x="13526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B3F94D60-7F99-4436-9AA3-C7AC4A0490C8}"/>
                  </a:ext>
                </a:extLst>
              </p:cNvPr>
              <p:cNvSpPr/>
              <p:nvPr/>
            </p:nvSpPr>
            <p:spPr>
              <a:xfrm>
                <a:off x="9085763" y="5290249"/>
                <a:ext cx="49149" cy="79724"/>
              </a:xfrm>
              <a:custGeom>
                <a:avLst/>
                <a:gdLst>
                  <a:gd name="connsiteX0" fmla="*/ 35719 w 49149"/>
                  <a:gd name="connsiteY0" fmla="*/ 39338 h 79724"/>
                  <a:gd name="connsiteX1" fmla="*/ 35623 w 49149"/>
                  <a:gd name="connsiteY1" fmla="*/ 38671 h 79724"/>
                  <a:gd name="connsiteX2" fmla="*/ 31337 w 49149"/>
                  <a:gd name="connsiteY2" fmla="*/ 34290 h 79724"/>
                  <a:gd name="connsiteX3" fmla="*/ 30575 w 49149"/>
                  <a:gd name="connsiteY3" fmla="*/ 34195 h 79724"/>
                  <a:gd name="connsiteX4" fmla="*/ 21431 w 49149"/>
                  <a:gd name="connsiteY4" fmla="*/ 34195 h 79724"/>
                  <a:gd name="connsiteX5" fmla="*/ 13335 w 49149"/>
                  <a:gd name="connsiteY5" fmla="*/ 40196 h 79724"/>
                  <a:gd name="connsiteX6" fmla="*/ 13335 w 49149"/>
                  <a:gd name="connsiteY6" fmla="*/ 79724 h 79724"/>
                  <a:gd name="connsiteX7" fmla="*/ 0 w 49149"/>
                  <a:gd name="connsiteY7" fmla="*/ 79724 h 79724"/>
                  <a:gd name="connsiteX8" fmla="*/ 0 w 49149"/>
                  <a:gd name="connsiteY8" fmla="*/ 0 h 79724"/>
                  <a:gd name="connsiteX9" fmla="*/ 13335 w 49149"/>
                  <a:gd name="connsiteY9" fmla="*/ 0 h 79724"/>
                  <a:gd name="connsiteX10" fmla="*/ 13335 w 49149"/>
                  <a:gd name="connsiteY10" fmla="*/ 24670 h 79724"/>
                  <a:gd name="connsiteX11" fmla="*/ 21146 w 49149"/>
                  <a:gd name="connsiteY11" fmla="*/ 21431 h 79724"/>
                  <a:gd name="connsiteX12" fmla="*/ 30766 w 49149"/>
                  <a:gd name="connsiteY12" fmla="*/ 21431 h 79724"/>
                  <a:gd name="connsiteX13" fmla="*/ 40386 w 49149"/>
                  <a:gd name="connsiteY13" fmla="*/ 24384 h 79724"/>
                  <a:gd name="connsiteX14" fmla="*/ 46768 w 49149"/>
                  <a:gd name="connsiteY14" fmla="*/ 30861 h 79724"/>
                  <a:gd name="connsiteX15" fmla="*/ 49149 w 49149"/>
                  <a:gd name="connsiteY15" fmla="*/ 38957 h 79724"/>
                  <a:gd name="connsiteX16" fmla="*/ 49149 w 49149"/>
                  <a:gd name="connsiteY16" fmla="*/ 79629 h 79724"/>
                  <a:gd name="connsiteX17" fmla="*/ 35814 w 49149"/>
                  <a:gd name="connsiteY17" fmla="*/ 79629 h 79724"/>
                  <a:gd name="connsiteX18" fmla="*/ 35814 w 49149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149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146" y="21431"/>
                    </a:cubicBezTo>
                    <a:lnTo>
                      <a:pt x="30766" y="21431"/>
                    </a:lnTo>
                    <a:cubicBezTo>
                      <a:pt x="34004" y="21431"/>
                      <a:pt x="37814" y="22479"/>
                      <a:pt x="40386" y="24384"/>
                    </a:cubicBezTo>
                    <a:cubicBezTo>
                      <a:pt x="42481" y="25813"/>
                      <a:pt x="45720" y="29432"/>
                      <a:pt x="46768" y="30861"/>
                    </a:cubicBezTo>
                    <a:cubicBezTo>
                      <a:pt x="48482" y="33433"/>
                      <a:pt x="49149" y="36100"/>
                      <a:pt x="49149" y="38957"/>
                    </a:cubicBezTo>
                    <a:lnTo>
                      <a:pt x="49149" y="79629"/>
                    </a:lnTo>
                    <a:lnTo>
                      <a:pt x="35814" y="79629"/>
                    </a:lnTo>
                    <a:lnTo>
                      <a:pt x="35814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3298E909-5828-4D1E-BBAF-3FB85BE246B3}"/>
                  </a:ext>
                </a:extLst>
              </p:cNvPr>
              <p:cNvSpPr/>
              <p:nvPr/>
            </p:nvSpPr>
            <p:spPr>
              <a:xfrm>
                <a:off x="9151295" y="5311681"/>
                <a:ext cx="50577" cy="58673"/>
              </a:xfrm>
              <a:custGeom>
                <a:avLst/>
                <a:gdLst>
                  <a:gd name="connsiteX0" fmla="*/ 17621 w 50577"/>
                  <a:gd name="connsiteY0" fmla="*/ 46291 h 58673"/>
                  <a:gd name="connsiteX1" fmla="*/ 32290 w 50577"/>
                  <a:gd name="connsiteY1" fmla="*/ 46291 h 58673"/>
                  <a:gd name="connsiteX2" fmla="*/ 37052 w 50577"/>
                  <a:gd name="connsiteY2" fmla="*/ 41529 h 58673"/>
                  <a:gd name="connsiteX3" fmla="*/ 37052 w 50577"/>
                  <a:gd name="connsiteY3" fmla="*/ 38290 h 58673"/>
                  <a:gd name="connsiteX4" fmla="*/ 35338 w 50577"/>
                  <a:gd name="connsiteY4" fmla="*/ 36385 h 58673"/>
                  <a:gd name="connsiteX5" fmla="*/ 13526 w 50577"/>
                  <a:gd name="connsiteY5" fmla="*/ 34671 h 58673"/>
                  <a:gd name="connsiteX6" fmla="*/ 1048 w 50577"/>
                  <a:gd name="connsiteY6" fmla="*/ 21050 h 58673"/>
                  <a:gd name="connsiteX7" fmla="*/ 1048 w 50577"/>
                  <a:gd name="connsiteY7" fmla="*/ 17050 h 58673"/>
                  <a:gd name="connsiteX8" fmla="*/ 3429 w 50577"/>
                  <a:gd name="connsiteY8" fmla="*/ 8954 h 58673"/>
                  <a:gd name="connsiteX9" fmla="*/ 18860 w 50577"/>
                  <a:gd name="connsiteY9" fmla="*/ 0 h 58673"/>
                  <a:gd name="connsiteX10" fmla="*/ 31623 w 50577"/>
                  <a:gd name="connsiteY10" fmla="*/ 0 h 58673"/>
                  <a:gd name="connsiteX11" fmla="*/ 41243 w 50577"/>
                  <a:gd name="connsiteY11" fmla="*/ 3048 h 58673"/>
                  <a:gd name="connsiteX12" fmla="*/ 49911 w 50577"/>
                  <a:gd name="connsiteY12" fmla="*/ 12859 h 58673"/>
                  <a:gd name="connsiteX13" fmla="*/ 37338 w 50577"/>
                  <a:gd name="connsiteY13" fmla="*/ 16573 h 58673"/>
                  <a:gd name="connsiteX14" fmla="*/ 36957 w 50577"/>
                  <a:gd name="connsiteY14" fmla="*/ 16002 h 58673"/>
                  <a:gd name="connsiteX15" fmla="*/ 32004 w 50577"/>
                  <a:gd name="connsiteY15" fmla="*/ 12573 h 58673"/>
                  <a:gd name="connsiteX16" fmla="*/ 19241 w 50577"/>
                  <a:gd name="connsiteY16" fmla="*/ 12573 h 58673"/>
                  <a:gd name="connsiteX17" fmla="*/ 17526 w 50577"/>
                  <a:gd name="connsiteY17" fmla="*/ 12859 h 58673"/>
                  <a:gd name="connsiteX18" fmla="*/ 14478 w 50577"/>
                  <a:gd name="connsiteY18" fmla="*/ 15907 h 58673"/>
                  <a:gd name="connsiteX19" fmla="*/ 14383 w 50577"/>
                  <a:gd name="connsiteY19" fmla="*/ 17240 h 58673"/>
                  <a:gd name="connsiteX20" fmla="*/ 14383 w 50577"/>
                  <a:gd name="connsiteY20" fmla="*/ 20383 h 58673"/>
                  <a:gd name="connsiteX21" fmla="*/ 16383 w 50577"/>
                  <a:gd name="connsiteY21" fmla="*/ 22098 h 58673"/>
                  <a:gd name="connsiteX22" fmla="*/ 37338 w 50577"/>
                  <a:gd name="connsiteY22" fmla="*/ 24098 h 58673"/>
                  <a:gd name="connsiteX23" fmla="*/ 50578 w 50577"/>
                  <a:gd name="connsiteY23" fmla="*/ 37814 h 58673"/>
                  <a:gd name="connsiteX24" fmla="*/ 50578 w 50577"/>
                  <a:gd name="connsiteY24" fmla="*/ 41529 h 58673"/>
                  <a:gd name="connsiteX25" fmla="*/ 48006 w 50577"/>
                  <a:gd name="connsiteY25" fmla="*/ 49625 h 58673"/>
                  <a:gd name="connsiteX26" fmla="*/ 42005 w 50577"/>
                  <a:gd name="connsiteY26" fmla="*/ 55721 h 58673"/>
                  <a:gd name="connsiteX27" fmla="*/ 32576 w 50577"/>
                  <a:gd name="connsiteY27" fmla="*/ 58674 h 58673"/>
                  <a:gd name="connsiteX28" fmla="*/ 18193 w 50577"/>
                  <a:gd name="connsiteY28" fmla="*/ 58674 h 58673"/>
                  <a:gd name="connsiteX29" fmla="*/ 8573 w 50577"/>
                  <a:gd name="connsiteY29" fmla="*/ 55435 h 58673"/>
                  <a:gd name="connsiteX30" fmla="*/ 0 w 50577"/>
                  <a:gd name="connsiteY30" fmla="*/ 45625 h 58673"/>
                  <a:gd name="connsiteX31" fmla="*/ 12383 w 50577"/>
                  <a:gd name="connsiteY31" fmla="*/ 41910 h 58673"/>
                  <a:gd name="connsiteX32" fmla="*/ 12764 w 50577"/>
                  <a:gd name="connsiteY32" fmla="*/ 42482 h 58673"/>
                  <a:gd name="connsiteX33" fmla="*/ 17717 w 50577"/>
                  <a:gd name="connsiteY33" fmla="*/ 46101 h 58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0577" h="58673">
                    <a:moveTo>
                      <a:pt x="17621" y="46291"/>
                    </a:moveTo>
                    <a:lnTo>
                      <a:pt x="32290" y="46291"/>
                    </a:lnTo>
                    <a:cubicBezTo>
                      <a:pt x="33909" y="46291"/>
                      <a:pt x="37052" y="43339"/>
                      <a:pt x="37052" y="41529"/>
                    </a:cubicBezTo>
                    <a:lnTo>
                      <a:pt x="37052" y="38290"/>
                    </a:lnTo>
                    <a:cubicBezTo>
                      <a:pt x="37052" y="37624"/>
                      <a:pt x="36767" y="36576"/>
                      <a:pt x="35338" y="36385"/>
                    </a:cubicBezTo>
                    <a:cubicBezTo>
                      <a:pt x="30671" y="36004"/>
                      <a:pt x="21050" y="35338"/>
                      <a:pt x="13526" y="34671"/>
                    </a:cubicBezTo>
                    <a:cubicBezTo>
                      <a:pt x="6477" y="34100"/>
                      <a:pt x="1048" y="29623"/>
                      <a:pt x="1048" y="21050"/>
                    </a:cubicBezTo>
                    <a:lnTo>
                      <a:pt x="1048" y="17050"/>
                    </a:lnTo>
                    <a:cubicBezTo>
                      <a:pt x="1048" y="14097"/>
                      <a:pt x="1715" y="11335"/>
                      <a:pt x="3429" y="8954"/>
                    </a:cubicBezTo>
                    <a:cubicBezTo>
                      <a:pt x="7144" y="3619"/>
                      <a:pt x="12192" y="0"/>
                      <a:pt x="18860" y="0"/>
                    </a:cubicBezTo>
                    <a:lnTo>
                      <a:pt x="31623" y="0"/>
                    </a:lnTo>
                    <a:cubicBezTo>
                      <a:pt x="34766" y="0"/>
                      <a:pt x="38672" y="1333"/>
                      <a:pt x="41243" y="3048"/>
                    </a:cubicBezTo>
                    <a:cubicBezTo>
                      <a:pt x="43339" y="4477"/>
                      <a:pt x="48578" y="9716"/>
                      <a:pt x="49911" y="12859"/>
                    </a:cubicBezTo>
                    <a:lnTo>
                      <a:pt x="37338" y="16573"/>
                    </a:lnTo>
                    <a:cubicBezTo>
                      <a:pt x="37338" y="16573"/>
                      <a:pt x="37243" y="16288"/>
                      <a:pt x="36957" y="16002"/>
                    </a:cubicBezTo>
                    <a:cubicBezTo>
                      <a:pt x="36195" y="15049"/>
                      <a:pt x="33338" y="12573"/>
                      <a:pt x="32004" y="12573"/>
                    </a:cubicBezTo>
                    <a:lnTo>
                      <a:pt x="19241" y="12573"/>
                    </a:lnTo>
                    <a:cubicBezTo>
                      <a:pt x="19241" y="12573"/>
                      <a:pt x="18002" y="12573"/>
                      <a:pt x="17526" y="12859"/>
                    </a:cubicBezTo>
                    <a:cubicBezTo>
                      <a:pt x="16955" y="13145"/>
                      <a:pt x="15240" y="14478"/>
                      <a:pt x="14478" y="15907"/>
                    </a:cubicBezTo>
                    <a:cubicBezTo>
                      <a:pt x="14478" y="15907"/>
                      <a:pt x="14383" y="16192"/>
                      <a:pt x="14383" y="17240"/>
                    </a:cubicBezTo>
                    <a:lnTo>
                      <a:pt x="14383" y="20383"/>
                    </a:lnTo>
                    <a:cubicBezTo>
                      <a:pt x="14383" y="20383"/>
                      <a:pt x="15050" y="22003"/>
                      <a:pt x="16383" y="22098"/>
                    </a:cubicBezTo>
                    <a:cubicBezTo>
                      <a:pt x="19812" y="22479"/>
                      <a:pt x="30004" y="23336"/>
                      <a:pt x="37338" y="24098"/>
                    </a:cubicBezTo>
                    <a:cubicBezTo>
                      <a:pt x="44482" y="24860"/>
                      <a:pt x="50578" y="29051"/>
                      <a:pt x="50578" y="37814"/>
                    </a:cubicBezTo>
                    <a:lnTo>
                      <a:pt x="50578" y="41529"/>
                    </a:lnTo>
                    <a:cubicBezTo>
                      <a:pt x="50578" y="44482"/>
                      <a:pt x="49816" y="47244"/>
                      <a:pt x="48006" y="49625"/>
                    </a:cubicBezTo>
                    <a:cubicBezTo>
                      <a:pt x="46958" y="51245"/>
                      <a:pt x="44196" y="54293"/>
                      <a:pt x="42005" y="55721"/>
                    </a:cubicBezTo>
                    <a:cubicBezTo>
                      <a:pt x="39338" y="57626"/>
                      <a:pt x="35909" y="58674"/>
                      <a:pt x="32576" y="58674"/>
                    </a:cubicBezTo>
                    <a:lnTo>
                      <a:pt x="18193" y="58674"/>
                    </a:lnTo>
                    <a:cubicBezTo>
                      <a:pt x="15050" y="58674"/>
                      <a:pt x="11144" y="57245"/>
                      <a:pt x="8573" y="55435"/>
                    </a:cubicBezTo>
                    <a:cubicBezTo>
                      <a:pt x="6477" y="54007"/>
                      <a:pt x="1429" y="48768"/>
                      <a:pt x="0" y="45625"/>
                    </a:cubicBezTo>
                    <a:lnTo>
                      <a:pt x="12383" y="41910"/>
                    </a:lnTo>
                    <a:lnTo>
                      <a:pt x="12764" y="42482"/>
                    </a:lnTo>
                    <a:cubicBezTo>
                      <a:pt x="13621" y="43434"/>
                      <a:pt x="16383" y="46006"/>
                      <a:pt x="17717" y="46101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ABB3D6C0-24D4-49B1-B125-1E9BEC2A3F55}"/>
                  </a:ext>
                </a:extLst>
              </p:cNvPr>
              <p:cNvSpPr/>
              <p:nvPr/>
            </p:nvSpPr>
            <p:spPr>
              <a:xfrm>
                <a:off x="9216351" y="5311681"/>
                <a:ext cx="49434" cy="58864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9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9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481 w 49434"/>
                  <a:gd name="connsiteY21" fmla="*/ 16954 h 58864"/>
                  <a:gd name="connsiteX22" fmla="*/ 36100 w 49434"/>
                  <a:gd name="connsiteY22" fmla="*/ 16383 h 58864"/>
                  <a:gd name="connsiteX23" fmla="*/ 31147 w 49434"/>
                  <a:gd name="connsiteY23" fmla="*/ 12668 h 58864"/>
                  <a:gd name="connsiteX24" fmla="*/ 18574 w 49434"/>
                  <a:gd name="connsiteY24" fmla="*/ 12668 h 58864"/>
                  <a:gd name="connsiteX25" fmla="*/ 17812 w 49434"/>
                  <a:gd name="connsiteY25" fmla="*/ 12764 h 58864"/>
                  <a:gd name="connsiteX26" fmla="*/ 13430 w 49434"/>
                  <a:gd name="connsiteY26" fmla="*/ 16764 h 58864"/>
                  <a:gd name="connsiteX27" fmla="*/ 13335 w 49434"/>
                  <a:gd name="connsiteY27" fmla="*/ 17716 h 58864"/>
                  <a:gd name="connsiteX28" fmla="*/ 13335 w 49434"/>
                  <a:gd name="connsiteY28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9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479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1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1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9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481" y="16954"/>
                    </a:lnTo>
                    <a:cubicBezTo>
                      <a:pt x="36481" y="16954"/>
                      <a:pt x="36385" y="16669"/>
                      <a:pt x="36100" y="16383"/>
                    </a:cubicBezTo>
                    <a:cubicBezTo>
                      <a:pt x="35338" y="15430"/>
                      <a:pt x="32480" y="12668"/>
                      <a:pt x="31147" y="12668"/>
                    </a:cubicBezTo>
                    <a:lnTo>
                      <a:pt x="18574" y="12668"/>
                    </a:lnTo>
                    <a:cubicBezTo>
                      <a:pt x="18574" y="12668"/>
                      <a:pt x="18002" y="12668"/>
                      <a:pt x="17812" y="12764"/>
                    </a:cubicBezTo>
                    <a:cubicBezTo>
                      <a:pt x="16193" y="13716"/>
                      <a:pt x="14383" y="15145"/>
                      <a:pt x="13430" y="16764"/>
                    </a:cubicBezTo>
                    <a:cubicBezTo>
                      <a:pt x="13335" y="17050"/>
                      <a:pt x="13335" y="17716"/>
                      <a:pt x="13335" y="17716"/>
                    </a:cubicBezTo>
                    <a:lnTo>
                      <a:pt x="13335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23BB731B-255F-4CB2-BD33-27F3AB3FC5C6}"/>
                  </a:ext>
                </a:extLst>
              </p:cNvPr>
              <p:cNvSpPr/>
              <p:nvPr/>
            </p:nvSpPr>
            <p:spPr>
              <a:xfrm>
                <a:off x="9280073" y="5290249"/>
                <a:ext cx="49244" cy="79724"/>
              </a:xfrm>
              <a:custGeom>
                <a:avLst/>
                <a:gdLst>
                  <a:gd name="connsiteX0" fmla="*/ 35719 w 49244"/>
                  <a:gd name="connsiteY0" fmla="*/ 39338 h 79724"/>
                  <a:gd name="connsiteX1" fmla="*/ 35623 w 49244"/>
                  <a:gd name="connsiteY1" fmla="*/ 38671 h 79724"/>
                  <a:gd name="connsiteX2" fmla="*/ 31337 w 49244"/>
                  <a:gd name="connsiteY2" fmla="*/ 34290 h 79724"/>
                  <a:gd name="connsiteX3" fmla="*/ 30575 w 49244"/>
                  <a:gd name="connsiteY3" fmla="*/ 34195 h 79724"/>
                  <a:gd name="connsiteX4" fmla="*/ 21431 w 49244"/>
                  <a:gd name="connsiteY4" fmla="*/ 34195 h 79724"/>
                  <a:gd name="connsiteX5" fmla="*/ 13335 w 49244"/>
                  <a:gd name="connsiteY5" fmla="*/ 40196 h 79724"/>
                  <a:gd name="connsiteX6" fmla="*/ 13335 w 49244"/>
                  <a:gd name="connsiteY6" fmla="*/ 79724 h 79724"/>
                  <a:gd name="connsiteX7" fmla="*/ 0 w 49244"/>
                  <a:gd name="connsiteY7" fmla="*/ 79724 h 79724"/>
                  <a:gd name="connsiteX8" fmla="*/ 0 w 49244"/>
                  <a:gd name="connsiteY8" fmla="*/ 0 h 79724"/>
                  <a:gd name="connsiteX9" fmla="*/ 13335 w 49244"/>
                  <a:gd name="connsiteY9" fmla="*/ 0 h 79724"/>
                  <a:gd name="connsiteX10" fmla="*/ 13335 w 49244"/>
                  <a:gd name="connsiteY10" fmla="*/ 24670 h 79724"/>
                  <a:gd name="connsiteX11" fmla="*/ 21241 w 49244"/>
                  <a:gd name="connsiteY11" fmla="*/ 21431 h 79724"/>
                  <a:gd name="connsiteX12" fmla="*/ 30861 w 49244"/>
                  <a:gd name="connsiteY12" fmla="*/ 21431 h 79724"/>
                  <a:gd name="connsiteX13" fmla="*/ 40481 w 49244"/>
                  <a:gd name="connsiteY13" fmla="*/ 24384 h 79724"/>
                  <a:gd name="connsiteX14" fmla="*/ 46863 w 49244"/>
                  <a:gd name="connsiteY14" fmla="*/ 30861 h 79724"/>
                  <a:gd name="connsiteX15" fmla="*/ 49244 w 49244"/>
                  <a:gd name="connsiteY15" fmla="*/ 38957 h 79724"/>
                  <a:gd name="connsiteX16" fmla="*/ 49244 w 49244"/>
                  <a:gd name="connsiteY16" fmla="*/ 79629 h 79724"/>
                  <a:gd name="connsiteX17" fmla="*/ 35909 w 49244"/>
                  <a:gd name="connsiteY17" fmla="*/ 79629 h 79724"/>
                  <a:gd name="connsiteX18" fmla="*/ 35909 w 49244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244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241" y="21431"/>
                    </a:cubicBezTo>
                    <a:lnTo>
                      <a:pt x="30861" y="21431"/>
                    </a:lnTo>
                    <a:cubicBezTo>
                      <a:pt x="34100" y="21431"/>
                      <a:pt x="37909" y="22479"/>
                      <a:pt x="40481" y="24384"/>
                    </a:cubicBezTo>
                    <a:cubicBezTo>
                      <a:pt x="42577" y="25813"/>
                      <a:pt x="45815" y="29432"/>
                      <a:pt x="46863" y="30861"/>
                    </a:cubicBezTo>
                    <a:cubicBezTo>
                      <a:pt x="48577" y="33433"/>
                      <a:pt x="49244" y="36100"/>
                      <a:pt x="49244" y="38957"/>
                    </a:cubicBezTo>
                    <a:lnTo>
                      <a:pt x="49244" y="79629"/>
                    </a:lnTo>
                    <a:lnTo>
                      <a:pt x="35909" y="79629"/>
                    </a:lnTo>
                    <a:lnTo>
                      <a:pt x="35909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C86D9AA5-1A79-41EF-8B1E-69217A6260BA}"/>
                  </a:ext>
                </a:extLst>
              </p:cNvPr>
              <p:cNvSpPr/>
              <p:nvPr/>
            </p:nvSpPr>
            <p:spPr>
              <a:xfrm>
                <a:off x="9346558" y="5312443"/>
                <a:ext cx="50482" cy="58102"/>
              </a:xfrm>
              <a:custGeom>
                <a:avLst/>
                <a:gdLst>
                  <a:gd name="connsiteX0" fmla="*/ 37243 w 50482"/>
                  <a:gd name="connsiteY0" fmla="*/ 57531 h 58102"/>
                  <a:gd name="connsiteX1" fmla="*/ 36862 w 50482"/>
                  <a:gd name="connsiteY1" fmla="*/ 54197 h 58102"/>
                  <a:gd name="connsiteX2" fmla="*/ 28480 w 50482"/>
                  <a:gd name="connsiteY2" fmla="*/ 58103 h 58102"/>
                  <a:gd name="connsiteX3" fmla="*/ 18479 w 50482"/>
                  <a:gd name="connsiteY3" fmla="*/ 58103 h 58102"/>
                  <a:gd name="connsiteX4" fmla="*/ 8763 w 50482"/>
                  <a:gd name="connsiteY4" fmla="*/ 55340 h 58102"/>
                  <a:gd name="connsiteX5" fmla="*/ 2381 w 50482"/>
                  <a:gd name="connsiteY5" fmla="*/ 48768 h 58102"/>
                  <a:gd name="connsiteX6" fmla="*/ 0 w 50482"/>
                  <a:gd name="connsiteY6" fmla="*/ 40672 h 58102"/>
                  <a:gd name="connsiteX7" fmla="*/ 0 w 50482"/>
                  <a:gd name="connsiteY7" fmla="*/ 0 h 58102"/>
                  <a:gd name="connsiteX8" fmla="*/ 13335 w 50482"/>
                  <a:gd name="connsiteY8" fmla="*/ 0 h 58102"/>
                  <a:gd name="connsiteX9" fmla="*/ 13335 w 50482"/>
                  <a:gd name="connsiteY9" fmla="*/ 40386 h 58102"/>
                  <a:gd name="connsiteX10" fmla="*/ 13430 w 50482"/>
                  <a:gd name="connsiteY10" fmla="*/ 41339 h 58102"/>
                  <a:gd name="connsiteX11" fmla="*/ 17812 w 50482"/>
                  <a:gd name="connsiteY11" fmla="*/ 45339 h 58102"/>
                  <a:gd name="connsiteX12" fmla="*/ 18574 w 50482"/>
                  <a:gd name="connsiteY12" fmla="*/ 45434 h 58102"/>
                  <a:gd name="connsiteX13" fmla="*/ 28004 w 50482"/>
                  <a:gd name="connsiteY13" fmla="*/ 45434 h 58102"/>
                  <a:gd name="connsiteX14" fmla="*/ 35909 w 50482"/>
                  <a:gd name="connsiteY14" fmla="*/ 40100 h 58102"/>
                  <a:gd name="connsiteX15" fmla="*/ 35909 w 50482"/>
                  <a:gd name="connsiteY15" fmla="*/ 0 h 58102"/>
                  <a:gd name="connsiteX16" fmla="*/ 49244 w 50482"/>
                  <a:gd name="connsiteY16" fmla="*/ 0 h 58102"/>
                  <a:gd name="connsiteX17" fmla="*/ 49244 w 50482"/>
                  <a:gd name="connsiteY17" fmla="*/ 45720 h 58102"/>
                  <a:gd name="connsiteX18" fmla="*/ 50483 w 50482"/>
                  <a:gd name="connsiteY18" fmla="*/ 57531 h 58102"/>
                  <a:gd name="connsiteX19" fmla="*/ 37338 w 50482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1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476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192" y="42767"/>
                      <a:pt x="16383" y="44387"/>
                      <a:pt x="17812" y="45339"/>
                    </a:cubicBezTo>
                    <a:cubicBezTo>
                      <a:pt x="18098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909" y="40100"/>
                    </a:cubicBezTo>
                    <a:lnTo>
                      <a:pt x="35909" y="0"/>
                    </a:lnTo>
                    <a:lnTo>
                      <a:pt x="49244" y="0"/>
                    </a:lnTo>
                    <a:lnTo>
                      <a:pt x="49244" y="45720"/>
                    </a:lnTo>
                    <a:lnTo>
                      <a:pt x="50483" y="57531"/>
                    </a:lnTo>
                    <a:lnTo>
                      <a:pt x="37338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61B349DA-5F61-49CA-8932-51E142439DC4}"/>
                  </a:ext>
                </a:extLst>
              </p:cNvPr>
              <p:cNvSpPr/>
              <p:nvPr/>
            </p:nvSpPr>
            <p:spPr>
              <a:xfrm>
                <a:off x="9414566" y="5290249"/>
                <a:ext cx="14573" cy="79724"/>
              </a:xfrm>
              <a:custGeom>
                <a:avLst/>
                <a:gdLst>
                  <a:gd name="connsiteX0" fmla="*/ 1334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334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4" y="79724"/>
                    </a:moveTo>
                    <a:cubicBezTo>
                      <a:pt x="953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334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0A7365C0-5848-4519-91C3-2BBA01E79DC2}"/>
                  </a:ext>
                </a:extLst>
              </p:cNvPr>
              <p:cNvSpPr/>
              <p:nvPr/>
            </p:nvSpPr>
            <p:spPr>
              <a:xfrm>
                <a:off x="9448094" y="5311776"/>
                <a:ext cx="49434" cy="58864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956 w 49434"/>
                  <a:gd name="connsiteY27" fmla="*/ 12763 h 58864"/>
                  <a:gd name="connsiteX28" fmla="*/ 18859 w 49434"/>
                  <a:gd name="connsiteY28" fmla="*/ 12763 h 58864"/>
                  <a:gd name="connsiteX29" fmla="*/ 13621 w 49434"/>
                  <a:gd name="connsiteY29" fmla="*/ 17050 h 58864"/>
                  <a:gd name="connsiteX30" fmla="*/ 13525 w 49434"/>
                  <a:gd name="connsiteY30" fmla="*/ 17812 h 58864"/>
                  <a:gd name="connsiteX31" fmla="*/ 13525 w 49434"/>
                  <a:gd name="connsiteY31" fmla="*/ 23813 h 58864"/>
                  <a:gd name="connsiteX32" fmla="*/ 36290 w 49434"/>
                  <a:gd name="connsiteY32" fmla="*/ 23813 h 58864"/>
                  <a:gd name="connsiteX33" fmla="*/ 36290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0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338" y="15621"/>
                      <a:pt x="33338" y="13716"/>
                      <a:pt x="31718" y="12859"/>
                    </a:cubicBezTo>
                    <a:cubicBezTo>
                      <a:pt x="31432" y="12763"/>
                      <a:pt x="31147" y="12763"/>
                      <a:pt x="30956" y="12763"/>
                    </a:cubicBezTo>
                    <a:lnTo>
                      <a:pt x="18859" y="12763"/>
                    </a:lnTo>
                    <a:cubicBezTo>
                      <a:pt x="17526" y="12763"/>
                      <a:pt x="14859" y="15050"/>
                      <a:pt x="13621" y="17050"/>
                    </a:cubicBezTo>
                    <a:cubicBezTo>
                      <a:pt x="13525" y="17336"/>
                      <a:pt x="13525" y="17812"/>
                      <a:pt x="13525" y="17812"/>
                    </a:cubicBezTo>
                    <a:lnTo>
                      <a:pt x="13525" y="23813"/>
                    </a:lnTo>
                    <a:lnTo>
                      <a:pt x="36290" y="23813"/>
                    </a:lnTo>
                    <a:lnTo>
                      <a:pt x="36290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84B6FB17-6C8F-4643-B932-0B54EF697167}"/>
                  </a:ext>
                </a:extLst>
              </p:cNvPr>
              <p:cNvSpPr/>
              <p:nvPr/>
            </p:nvSpPr>
            <p:spPr>
              <a:xfrm>
                <a:off x="9549059" y="5290440"/>
                <a:ext cx="61150" cy="79533"/>
              </a:xfrm>
              <a:custGeom>
                <a:avLst/>
                <a:gdLst>
                  <a:gd name="connsiteX0" fmla="*/ 44672 w 61150"/>
                  <a:gd name="connsiteY0" fmla="*/ 79534 h 79533"/>
                  <a:gd name="connsiteX1" fmla="*/ 26765 w 61150"/>
                  <a:gd name="connsiteY1" fmla="*/ 47911 h 79533"/>
                  <a:gd name="connsiteX2" fmla="*/ 14002 w 61150"/>
                  <a:gd name="connsiteY2" fmla="*/ 47911 h 79533"/>
                  <a:gd name="connsiteX3" fmla="*/ 14002 w 61150"/>
                  <a:gd name="connsiteY3" fmla="*/ 79534 h 79533"/>
                  <a:gd name="connsiteX4" fmla="*/ 0 w 61150"/>
                  <a:gd name="connsiteY4" fmla="*/ 79534 h 79533"/>
                  <a:gd name="connsiteX5" fmla="*/ 0 w 61150"/>
                  <a:gd name="connsiteY5" fmla="*/ 0 h 79533"/>
                  <a:gd name="connsiteX6" fmla="*/ 37433 w 61150"/>
                  <a:gd name="connsiteY6" fmla="*/ 0 h 79533"/>
                  <a:gd name="connsiteX7" fmla="*/ 47054 w 61150"/>
                  <a:gd name="connsiteY7" fmla="*/ 2953 h 79533"/>
                  <a:gd name="connsiteX8" fmla="*/ 54102 w 61150"/>
                  <a:gd name="connsiteY8" fmla="*/ 10287 h 79533"/>
                  <a:gd name="connsiteX9" fmla="*/ 56483 w 61150"/>
                  <a:gd name="connsiteY9" fmla="*/ 18383 h 79533"/>
                  <a:gd name="connsiteX10" fmla="*/ 56483 w 61150"/>
                  <a:gd name="connsiteY10" fmla="*/ 29813 h 79533"/>
                  <a:gd name="connsiteX11" fmla="*/ 54102 w 61150"/>
                  <a:gd name="connsiteY11" fmla="*/ 37910 h 79533"/>
                  <a:gd name="connsiteX12" fmla="*/ 47054 w 61150"/>
                  <a:gd name="connsiteY12" fmla="*/ 44958 h 79533"/>
                  <a:gd name="connsiteX13" fmla="*/ 42100 w 61150"/>
                  <a:gd name="connsiteY13" fmla="*/ 46958 h 79533"/>
                  <a:gd name="connsiteX14" fmla="*/ 61150 w 61150"/>
                  <a:gd name="connsiteY14" fmla="*/ 79439 h 79533"/>
                  <a:gd name="connsiteX15" fmla="*/ 44672 w 61150"/>
                  <a:gd name="connsiteY15" fmla="*/ 79439 h 79533"/>
                  <a:gd name="connsiteX16" fmla="*/ 42481 w 61150"/>
                  <a:gd name="connsiteY16" fmla="*/ 18479 h 79533"/>
                  <a:gd name="connsiteX17" fmla="*/ 42386 w 61150"/>
                  <a:gd name="connsiteY17" fmla="*/ 17526 h 79533"/>
                  <a:gd name="connsiteX18" fmla="*/ 38100 w 61150"/>
                  <a:gd name="connsiteY18" fmla="*/ 13240 h 79533"/>
                  <a:gd name="connsiteX19" fmla="*/ 14002 w 61150"/>
                  <a:gd name="connsiteY19" fmla="*/ 13240 h 79533"/>
                  <a:gd name="connsiteX20" fmla="*/ 14002 w 61150"/>
                  <a:gd name="connsiteY20" fmla="*/ 34576 h 79533"/>
                  <a:gd name="connsiteX21" fmla="*/ 37433 w 61150"/>
                  <a:gd name="connsiteY21" fmla="*/ 34576 h 79533"/>
                  <a:gd name="connsiteX22" fmla="*/ 42386 w 61150"/>
                  <a:gd name="connsiteY22" fmla="*/ 30004 h 79533"/>
                  <a:gd name="connsiteX23" fmla="*/ 42481 w 61150"/>
                  <a:gd name="connsiteY23" fmla="*/ 29432 h 79533"/>
                  <a:gd name="connsiteX24" fmla="*/ 42481 w 61150"/>
                  <a:gd name="connsiteY24" fmla="*/ 18383 h 79533"/>
                  <a:gd name="connsiteX25" fmla="*/ 42481 w 61150"/>
                  <a:gd name="connsiteY25" fmla="*/ 18383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1150" h="79533">
                    <a:moveTo>
                      <a:pt x="44672" y="79534"/>
                    </a:moveTo>
                    <a:lnTo>
                      <a:pt x="26765" y="47911"/>
                    </a:lnTo>
                    <a:lnTo>
                      <a:pt x="14002" y="47911"/>
                    </a:lnTo>
                    <a:lnTo>
                      <a:pt x="14002" y="79534"/>
                    </a:lnTo>
                    <a:lnTo>
                      <a:pt x="0" y="79534"/>
                    </a:lnTo>
                    <a:lnTo>
                      <a:pt x="0" y="0"/>
                    </a:lnTo>
                    <a:lnTo>
                      <a:pt x="37433" y="0"/>
                    </a:lnTo>
                    <a:cubicBezTo>
                      <a:pt x="40672" y="0"/>
                      <a:pt x="44387" y="1048"/>
                      <a:pt x="47054" y="2953"/>
                    </a:cubicBezTo>
                    <a:cubicBezTo>
                      <a:pt x="48863" y="4286"/>
                      <a:pt x="52864" y="8573"/>
                      <a:pt x="54102" y="10287"/>
                    </a:cubicBezTo>
                    <a:cubicBezTo>
                      <a:pt x="55721" y="12668"/>
                      <a:pt x="56483" y="15621"/>
                      <a:pt x="56483" y="18383"/>
                    </a:cubicBezTo>
                    <a:lnTo>
                      <a:pt x="56483" y="29813"/>
                    </a:lnTo>
                    <a:cubicBezTo>
                      <a:pt x="56483" y="32766"/>
                      <a:pt x="55721" y="35528"/>
                      <a:pt x="54102" y="37910"/>
                    </a:cubicBezTo>
                    <a:cubicBezTo>
                      <a:pt x="52864" y="39624"/>
                      <a:pt x="48863" y="43624"/>
                      <a:pt x="47054" y="44958"/>
                    </a:cubicBezTo>
                    <a:cubicBezTo>
                      <a:pt x="46006" y="45720"/>
                      <a:pt x="43720" y="46673"/>
                      <a:pt x="42100" y="46958"/>
                    </a:cubicBezTo>
                    <a:lnTo>
                      <a:pt x="61150" y="79439"/>
                    </a:lnTo>
                    <a:lnTo>
                      <a:pt x="44672" y="79439"/>
                    </a:lnTo>
                    <a:close/>
                    <a:moveTo>
                      <a:pt x="42481" y="18479"/>
                    </a:moveTo>
                    <a:cubicBezTo>
                      <a:pt x="42481" y="18479"/>
                      <a:pt x="42481" y="17716"/>
                      <a:pt x="42386" y="17526"/>
                    </a:cubicBezTo>
                    <a:cubicBezTo>
                      <a:pt x="41624" y="16097"/>
                      <a:pt x="39433" y="13430"/>
                      <a:pt x="38100" y="13240"/>
                    </a:cubicBezTo>
                    <a:lnTo>
                      <a:pt x="14002" y="13240"/>
                    </a:lnTo>
                    <a:lnTo>
                      <a:pt x="14002" y="34576"/>
                    </a:lnTo>
                    <a:lnTo>
                      <a:pt x="37433" y="34576"/>
                    </a:lnTo>
                    <a:cubicBezTo>
                      <a:pt x="38671" y="34576"/>
                      <a:pt x="41339" y="31909"/>
                      <a:pt x="42386" y="30004"/>
                    </a:cubicBezTo>
                    <a:cubicBezTo>
                      <a:pt x="42386" y="30004"/>
                      <a:pt x="42481" y="29718"/>
                      <a:pt x="42481" y="29432"/>
                    </a:cubicBezTo>
                    <a:lnTo>
                      <a:pt x="42481" y="18383"/>
                    </a:lnTo>
                    <a:lnTo>
                      <a:pt x="42481" y="18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EB08938E-16D7-4052-B6A8-31EC78A5146A}"/>
                  </a:ext>
                </a:extLst>
              </p:cNvPr>
              <p:cNvSpPr/>
              <p:nvPr/>
            </p:nvSpPr>
            <p:spPr>
              <a:xfrm>
                <a:off x="9625259" y="5311776"/>
                <a:ext cx="49434" cy="58864"/>
              </a:xfrm>
              <a:custGeom>
                <a:avLst/>
                <a:gdLst>
                  <a:gd name="connsiteX0" fmla="*/ 13525 w 49434"/>
                  <a:gd name="connsiteY0" fmla="*/ 36195 h 58864"/>
                  <a:gd name="connsiteX1" fmla="*/ 13525 w 49434"/>
                  <a:gd name="connsiteY1" fmla="*/ 41243 h 58864"/>
                  <a:gd name="connsiteX2" fmla="*/ 13621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290 w 49434"/>
                  <a:gd name="connsiteY24" fmla="*/ 17717 h 58864"/>
                  <a:gd name="connsiteX25" fmla="*/ 36195 w 49434"/>
                  <a:gd name="connsiteY25" fmla="*/ 16955 h 58864"/>
                  <a:gd name="connsiteX26" fmla="*/ 31814 w 49434"/>
                  <a:gd name="connsiteY26" fmla="*/ 12859 h 58864"/>
                  <a:gd name="connsiteX27" fmla="*/ 31052 w 49434"/>
                  <a:gd name="connsiteY27" fmla="*/ 12763 h 58864"/>
                  <a:gd name="connsiteX28" fmla="*/ 18955 w 49434"/>
                  <a:gd name="connsiteY28" fmla="*/ 12763 h 58864"/>
                  <a:gd name="connsiteX29" fmla="*/ 13811 w 49434"/>
                  <a:gd name="connsiteY29" fmla="*/ 17050 h 58864"/>
                  <a:gd name="connsiteX30" fmla="*/ 13716 w 49434"/>
                  <a:gd name="connsiteY30" fmla="*/ 17812 h 58864"/>
                  <a:gd name="connsiteX31" fmla="*/ 13716 w 49434"/>
                  <a:gd name="connsiteY31" fmla="*/ 23813 h 58864"/>
                  <a:gd name="connsiteX32" fmla="*/ 36481 w 49434"/>
                  <a:gd name="connsiteY32" fmla="*/ 23813 h 58864"/>
                  <a:gd name="connsiteX33" fmla="*/ 36481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525" y="36195"/>
                    </a:moveTo>
                    <a:lnTo>
                      <a:pt x="13525" y="41243"/>
                    </a:lnTo>
                    <a:cubicBezTo>
                      <a:pt x="13525" y="41243"/>
                      <a:pt x="13621" y="41910"/>
                      <a:pt x="13621" y="41910"/>
                    </a:cubicBezTo>
                    <a:cubicBezTo>
                      <a:pt x="14859" y="43910"/>
                      <a:pt x="17526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386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958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290" y="17717"/>
                    </a:moveTo>
                    <a:cubicBezTo>
                      <a:pt x="36290" y="17717"/>
                      <a:pt x="36290" y="17050"/>
                      <a:pt x="36195" y="16955"/>
                    </a:cubicBezTo>
                    <a:cubicBezTo>
                      <a:pt x="35433" y="15621"/>
                      <a:pt x="33433" y="13716"/>
                      <a:pt x="31814" y="12859"/>
                    </a:cubicBezTo>
                    <a:cubicBezTo>
                      <a:pt x="31528" y="12763"/>
                      <a:pt x="31242" y="12763"/>
                      <a:pt x="31052" y="12763"/>
                    </a:cubicBezTo>
                    <a:lnTo>
                      <a:pt x="18955" y="12763"/>
                    </a:lnTo>
                    <a:cubicBezTo>
                      <a:pt x="17621" y="12763"/>
                      <a:pt x="14954" y="15050"/>
                      <a:pt x="13811" y="17050"/>
                    </a:cubicBezTo>
                    <a:cubicBezTo>
                      <a:pt x="13716" y="17336"/>
                      <a:pt x="13716" y="17812"/>
                      <a:pt x="13716" y="17812"/>
                    </a:cubicBezTo>
                    <a:lnTo>
                      <a:pt x="13716" y="23813"/>
                    </a:lnTo>
                    <a:lnTo>
                      <a:pt x="36481" y="23813"/>
                    </a:lnTo>
                    <a:lnTo>
                      <a:pt x="36481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99FCD86D-4A71-49E0-9DEF-40331F2672CC}"/>
                  </a:ext>
                </a:extLst>
              </p:cNvPr>
              <p:cNvSpPr/>
              <p:nvPr/>
            </p:nvSpPr>
            <p:spPr>
              <a:xfrm>
                <a:off x="9694315" y="5312443"/>
                <a:ext cx="50387" cy="58102"/>
              </a:xfrm>
              <a:custGeom>
                <a:avLst/>
                <a:gdLst>
                  <a:gd name="connsiteX0" fmla="*/ 37243 w 50387"/>
                  <a:gd name="connsiteY0" fmla="*/ 57531 h 58102"/>
                  <a:gd name="connsiteX1" fmla="*/ 36862 w 50387"/>
                  <a:gd name="connsiteY1" fmla="*/ 54197 h 58102"/>
                  <a:gd name="connsiteX2" fmla="*/ 28480 w 50387"/>
                  <a:gd name="connsiteY2" fmla="*/ 58103 h 58102"/>
                  <a:gd name="connsiteX3" fmla="*/ 18479 w 50387"/>
                  <a:gd name="connsiteY3" fmla="*/ 58103 h 58102"/>
                  <a:gd name="connsiteX4" fmla="*/ 8763 w 50387"/>
                  <a:gd name="connsiteY4" fmla="*/ 55340 h 58102"/>
                  <a:gd name="connsiteX5" fmla="*/ 2381 w 50387"/>
                  <a:gd name="connsiteY5" fmla="*/ 48768 h 58102"/>
                  <a:gd name="connsiteX6" fmla="*/ 0 w 50387"/>
                  <a:gd name="connsiteY6" fmla="*/ 40672 h 58102"/>
                  <a:gd name="connsiteX7" fmla="*/ 0 w 50387"/>
                  <a:gd name="connsiteY7" fmla="*/ 0 h 58102"/>
                  <a:gd name="connsiteX8" fmla="*/ 13335 w 50387"/>
                  <a:gd name="connsiteY8" fmla="*/ 0 h 58102"/>
                  <a:gd name="connsiteX9" fmla="*/ 13335 w 50387"/>
                  <a:gd name="connsiteY9" fmla="*/ 40386 h 58102"/>
                  <a:gd name="connsiteX10" fmla="*/ 13430 w 50387"/>
                  <a:gd name="connsiteY10" fmla="*/ 41339 h 58102"/>
                  <a:gd name="connsiteX11" fmla="*/ 17812 w 50387"/>
                  <a:gd name="connsiteY11" fmla="*/ 45339 h 58102"/>
                  <a:gd name="connsiteX12" fmla="*/ 18574 w 50387"/>
                  <a:gd name="connsiteY12" fmla="*/ 45434 h 58102"/>
                  <a:gd name="connsiteX13" fmla="*/ 28004 w 50387"/>
                  <a:gd name="connsiteY13" fmla="*/ 45434 h 58102"/>
                  <a:gd name="connsiteX14" fmla="*/ 35814 w 50387"/>
                  <a:gd name="connsiteY14" fmla="*/ 40100 h 58102"/>
                  <a:gd name="connsiteX15" fmla="*/ 35814 w 50387"/>
                  <a:gd name="connsiteY15" fmla="*/ 0 h 58102"/>
                  <a:gd name="connsiteX16" fmla="*/ 49149 w 50387"/>
                  <a:gd name="connsiteY16" fmla="*/ 0 h 58102"/>
                  <a:gd name="connsiteX17" fmla="*/ 49149 w 50387"/>
                  <a:gd name="connsiteY17" fmla="*/ 45720 h 58102"/>
                  <a:gd name="connsiteX18" fmla="*/ 50387 w 50387"/>
                  <a:gd name="connsiteY18" fmla="*/ 57531 h 58102"/>
                  <a:gd name="connsiteX19" fmla="*/ 37243 w 50387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0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571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288" y="42767"/>
                      <a:pt x="16383" y="44387"/>
                      <a:pt x="17812" y="45339"/>
                    </a:cubicBezTo>
                    <a:cubicBezTo>
                      <a:pt x="18097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814" y="40100"/>
                    </a:cubicBezTo>
                    <a:lnTo>
                      <a:pt x="35814" y="0"/>
                    </a:lnTo>
                    <a:lnTo>
                      <a:pt x="49149" y="0"/>
                    </a:lnTo>
                    <a:lnTo>
                      <a:pt x="49149" y="45720"/>
                    </a:lnTo>
                    <a:lnTo>
                      <a:pt x="50387" y="57531"/>
                    </a:lnTo>
                    <a:lnTo>
                      <a:pt x="37243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BF3DD2F3-D84A-470E-A61A-0E7B0B3E460F}"/>
                  </a:ext>
                </a:extLst>
              </p:cNvPr>
              <p:cNvSpPr/>
              <p:nvPr/>
            </p:nvSpPr>
            <p:spPr>
              <a:xfrm>
                <a:off x="9758609" y="5290344"/>
                <a:ext cx="38766" cy="79629"/>
              </a:xfrm>
              <a:custGeom>
                <a:avLst/>
                <a:gdLst>
                  <a:gd name="connsiteX0" fmla="*/ 22479 w 38766"/>
                  <a:gd name="connsiteY0" fmla="*/ 61817 h 79629"/>
                  <a:gd name="connsiteX1" fmla="*/ 22574 w 38766"/>
                  <a:gd name="connsiteY1" fmla="*/ 62579 h 79629"/>
                  <a:gd name="connsiteX2" fmla="*/ 27718 w 38766"/>
                  <a:gd name="connsiteY2" fmla="*/ 66961 h 79629"/>
                  <a:gd name="connsiteX3" fmla="*/ 38767 w 38766"/>
                  <a:gd name="connsiteY3" fmla="*/ 66961 h 79629"/>
                  <a:gd name="connsiteX4" fmla="*/ 38767 w 38766"/>
                  <a:gd name="connsiteY4" fmla="*/ 79629 h 79629"/>
                  <a:gd name="connsiteX5" fmla="*/ 27527 w 38766"/>
                  <a:gd name="connsiteY5" fmla="*/ 79629 h 79629"/>
                  <a:gd name="connsiteX6" fmla="*/ 17907 w 38766"/>
                  <a:gd name="connsiteY6" fmla="*/ 76867 h 79629"/>
                  <a:gd name="connsiteX7" fmla="*/ 11525 w 38766"/>
                  <a:gd name="connsiteY7" fmla="*/ 70295 h 79629"/>
                  <a:gd name="connsiteX8" fmla="*/ 8954 w 38766"/>
                  <a:gd name="connsiteY8" fmla="*/ 61913 h 79629"/>
                  <a:gd name="connsiteX9" fmla="*/ 8954 w 38766"/>
                  <a:gd name="connsiteY9" fmla="*/ 34766 h 79629"/>
                  <a:gd name="connsiteX10" fmla="*/ 0 w 38766"/>
                  <a:gd name="connsiteY10" fmla="*/ 34766 h 79629"/>
                  <a:gd name="connsiteX11" fmla="*/ 0 w 38766"/>
                  <a:gd name="connsiteY11" fmla="*/ 22098 h 79629"/>
                  <a:gd name="connsiteX12" fmla="*/ 8954 w 38766"/>
                  <a:gd name="connsiteY12" fmla="*/ 22098 h 79629"/>
                  <a:gd name="connsiteX13" fmla="*/ 8954 w 38766"/>
                  <a:gd name="connsiteY13" fmla="*/ 0 h 79629"/>
                  <a:gd name="connsiteX14" fmla="*/ 22288 w 38766"/>
                  <a:gd name="connsiteY14" fmla="*/ 0 h 79629"/>
                  <a:gd name="connsiteX15" fmla="*/ 22288 w 38766"/>
                  <a:gd name="connsiteY15" fmla="*/ 22098 h 79629"/>
                  <a:gd name="connsiteX16" fmla="*/ 38767 w 38766"/>
                  <a:gd name="connsiteY16" fmla="*/ 22098 h 79629"/>
                  <a:gd name="connsiteX17" fmla="*/ 38767 w 38766"/>
                  <a:gd name="connsiteY17" fmla="*/ 34766 h 79629"/>
                  <a:gd name="connsiteX18" fmla="*/ 22288 w 38766"/>
                  <a:gd name="connsiteY18" fmla="*/ 34766 h 79629"/>
                  <a:gd name="connsiteX19" fmla="*/ 22288 w 38766"/>
                  <a:gd name="connsiteY19" fmla="*/ 61817 h 79629"/>
                  <a:gd name="connsiteX20" fmla="*/ 22288 w 38766"/>
                  <a:gd name="connsiteY20" fmla="*/ 61817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8766" h="79629">
                    <a:moveTo>
                      <a:pt x="22479" y="61817"/>
                    </a:moveTo>
                    <a:cubicBezTo>
                      <a:pt x="22479" y="61817"/>
                      <a:pt x="22479" y="62389"/>
                      <a:pt x="22574" y="62579"/>
                    </a:cubicBezTo>
                    <a:cubicBezTo>
                      <a:pt x="23336" y="64008"/>
                      <a:pt x="25908" y="66961"/>
                      <a:pt x="27718" y="66961"/>
                    </a:cubicBezTo>
                    <a:lnTo>
                      <a:pt x="38767" y="66961"/>
                    </a:lnTo>
                    <a:lnTo>
                      <a:pt x="38767" y="79629"/>
                    </a:lnTo>
                    <a:lnTo>
                      <a:pt x="27527" y="79629"/>
                    </a:lnTo>
                    <a:cubicBezTo>
                      <a:pt x="24193" y="79629"/>
                      <a:pt x="20574" y="78677"/>
                      <a:pt x="17907" y="76867"/>
                    </a:cubicBezTo>
                    <a:cubicBezTo>
                      <a:pt x="15812" y="75438"/>
                      <a:pt x="12573" y="71819"/>
                      <a:pt x="11525" y="70295"/>
                    </a:cubicBezTo>
                    <a:cubicBezTo>
                      <a:pt x="9811" y="67723"/>
                      <a:pt x="8954" y="64865"/>
                      <a:pt x="8954" y="61913"/>
                    </a:cubicBezTo>
                    <a:lnTo>
                      <a:pt x="8954" y="34766"/>
                    </a:lnTo>
                    <a:lnTo>
                      <a:pt x="0" y="34766"/>
                    </a:lnTo>
                    <a:lnTo>
                      <a:pt x="0" y="22098"/>
                    </a:lnTo>
                    <a:lnTo>
                      <a:pt x="8954" y="22098"/>
                    </a:lnTo>
                    <a:lnTo>
                      <a:pt x="8954" y="0"/>
                    </a:lnTo>
                    <a:lnTo>
                      <a:pt x="22288" y="0"/>
                    </a:lnTo>
                    <a:lnTo>
                      <a:pt x="22288" y="22098"/>
                    </a:lnTo>
                    <a:lnTo>
                      <a:pt x="38767" y="22098"/>
                    </a:lnTo>
                    <a:lnTo>
                      <a:pt x="38767" y="34766"/>
                    </a:lnTo>
                    <a:lnTo>
                      <a:pt x="22288" y="34766"/>
                    </a:lnTo>
                    <a:lnTo>
                      <a:pt x="22288" y="61817"/>
                    </a:lnTo>
                    <a:lnTo>
                      <a:pt x="22288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ED399D14-71AE-4885-95A9-1955645FCA76}"/>
                  </a:ext>
                </a:extLst>
              </p:cNvPr>
              <p:cNvSpPr/>
              <p:nvPr/>
            </p:nvSpPr>
            <p:spPr>
              <a:xfrm>
                <a:off x="9816998" y="5290249"/>
                <a:ext cx="14573" cy="79724"/>
              </a:xfrm>
              <a:custGeom>
                <a:avLst/>
                <a:gdLst>
                  <a:gd name="connsiteX0" fmla="*/ 1333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429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3" y="79724"/>
                    </a:moveTo>
                    <a:cubicBezTo>
                      <a:pt x="952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429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1CF2C8F4-5D63-462C-BD82-9F34FBEC8EE2}"/>
                  </a:ext>
                </a:extLst>
              </p:cNvPr>
              <p:cNvSpPr/>
              <p:nvPr/>
            </p:nvSpPr>
            <p:spPr>
              <a:xfrm>
                <a:off x="9854907" y="5290916"/>
                <a:ext cx="14287" cy="78962"/>
              </a:xfrm>
              <a:custGeom>
                <a:avLst/>
                <a:gdLst>
                  <a:gd name="connsiteX0" fmla="*/ 0 w 14287"/>
                  <a:gd name="connsiteY0" fmla="*/ 0 h 78962"/>
                  <a:gd name="connsiteX1" fmla="*/ 14288 w 14287"/>
                  <a:gd name="connsiteY1" fmla="*/ 0 h 78962"/>
                  <a:gd name="connsiteX2" fmla="*/ 14288 w 14287"/>
                  <a:gd name="connsiteY2" fmla="*/ 14288 h 78962"/>
                  <a:gd name="connsiteX3" fmla="*/ 0 w 14287"/>
                  <a:gd name="connsiteY3" fmla="*/ 14288 h 78962"/>
                  <a:gd name="connsiteX4" fmla="*/ 0 w 14287"/>
                  <a:gd name="connsiteY4" fmla="*/ 0 h 78962"/>
                  <a:gd name="connsiteX5" fmla="*/ 571 w 14287"/>
                  <a:gd name="connsiteY5" fmla="*/ 21431 h 78962"/>
                  <a:gd name="connsiteX6" fmla="*/ 13907 w 14287"/>
                  <a:gd name="connsiteY6" fmla="*/ 21431 h 78962"/>
                  <a:gd name="connsiteX7" fmla="*/ 13907 w 14287"/>
                  <a:gd name="connsiteY7" fmla="*/ 78962 h 78962"/>
                  <a:gd name="connsiteX8" fmla="*/ 571 w 14287"/>
                  <a:gd name="connsiteY8" fmla="*/ 78962 h 78962"/>
                  <a:gd name="connsiteX9" fmla="*/ 571 w 14287"/>
                  <a:gd name="connsiteY9" fmla="*/ 21527 h 7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87" h="78962">
                    <a:moveTo>
                      <a:pt x="0" y="0"/>
                    </a:moveTo>
                    <a:lnTo>
                      <a:pt x="14288" y="0"/>
                    </a:lnTo>
                    <a:lnTo>
                      <a:pt x="14288" y="14288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  <a:moveTo>
                      <a:pt x="571" y="21431"/>
                    </a:moveTo>
                    <a:lnTo>
                      <a:pt x="13907" y="21431"/>
                    </a:lnTo>
                    <a:lnTo>
                      <a:pt x="13907" y="78962"/>
                    </a:lnTo>
                    <a:lnTo>
                      <a:pt x="571" y="78962"/>
                    </a:lnTo>
                    <a:lnTo>
                      <a:pt x="571" y="2152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3B40CE22-A3A2-415A-A1D0-D97F35356D35}"/>
                  </a:ext>
                </a:extLst>
              </p:cNvPr>
              <p:cNvSpPr/>
              <p:nvPr/>
            </p:nvSpPr>
            <p:spPr>
              <a:xfrm>
                <a:off x="9891102" y="5311871"/>
                <a:ext cx="50387" cy="58197"/>
              </a:xfrm>
              <a:custGeom>
                <a:avLst/>
                <a:gdLst>
                  <a:gd name="connsiteX0" fmla="*/ 37243 w 50387"/>
                  <a:gd name="connsiteY0" fmla="*/ 58103 h 58197"/>
                  <a:gd name="connsiteX1" fmla="*/ 37243 w 50387"/>
                  <a:gd name="connsiteY1" fmla="*/ 17621 h 58197"/>
                  <a:gd name="connsiteX2" fmla="*/ 37052 w 50387"/>
                  <a:gd name="connsiteY2" fmla="*/ 16859 h 58197"/>
                  <a:gd name="connsiteX3" fmla="*/ 32956 w 50387"/>
                  <a:gd name="connsiteY3" fmla="*/ 12763 h 58197"/>
                  <a:gd name="connsiteX4" fmla="*/ 31909 w 50387"/>
                  <a:gd name="connsiteY4" fmla="*/ 12668 h 58197"/>
                  <a:gd name="connsiteX5" fmla="*/ 22574 w 50387"/>
                  <a:gd name="connsiteY5" fmla="*/ 12668 h 58197"/>
                  <a:gd name="connsiteX6" fmla="*/ 14668 w 50387"/>
                  <a:gd name="connsiteY6" fmla="*/ 18098 h 58197"/>
                  <a:gd name="connsiteX7" fmla="*/ 14668 w 50387"/>
                  <a:gd name="connsiteY7" fmla="*/ 58198 h 58197"/>
                  <a:gd name="connsiteX8" fmla="*/ 1333 w 50387"/>
                  <a:gd name="connsiteY8" fmla="*/ 58198 h 58197"/>
                  <a:gd name="connsiteX9" fmla="*/ 1333 w 50387"/>
                  <a:gd name="connsiteY9" fmla="*/ 12478 h 58197"/>
                  <a:gd name="connsiteX10" fmla="*/ 0 w 50387"/>
                  <a:gd name="connsiteY10" fmla="*/ 667 h 58197"/>
                  <a:gd name="connsiteX11" fmla="*/ 13240 w 50387"/>
                  <a:gd name="connsiteY11" fmla="*/ 667 h 58197"/>
                  <a:gd name="connsiteX12" fmla="*/ 13716 w 50387"/>
                  <a:gd name="connsiteY12" fmla="*/ 3715 h 58197"/>
                  <a:gd name="connsiteX13" fmla="*/ 22098 w 50387"/>
                  <a:gd name="connsiteY13" fmla="*/ 0 h 58197"/>
                  <a:gd name="connsiteX14" fmla="*/ 31909 w 50387"/>
                  <a:gd name="connsiteY14" fmla="*/ 0 h 58197"/>
                  <a:gd name="connsiteX15" fmla="*/ 41624 w 50387"/>
                  <a:gd name="connsiteY15" fmla="*/ 2953 h 58197"/>
                  <a:gd name="connsiteX16" fmla="*/ 48006 w 50387"/>
                  <a:gd name="connsiteY16" fmla="*/ 9335 h 58197"/>
                  <a:gd name="connsiteX17" fmla="*/ 50387 w 50387"/>
                  <a:gd name="connsiteY17" fmla="*/ 17431 h 58197"/>
                  <a:gd name="connsiteX18" fmla="*/ 50387 w 50387"/>
                  <a:gd name="connsiteY18" fmla="*/ 58198 h 58197"/>
                  <a:gd name="connsiteX19" fmla="*/ 37052 w 50387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052" y="16859"/>
                    </a:cubicBezTo>
                    <a:cubicBezTo>
                      <a:pt x="36290" y="15430"/>
                      <a:pt x="34385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2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1909" y="0"/>
                    </a:lnTo>
                    <a:cubicBezTo>
                      <a:pt x="35242" y="0"/>
                      <a:pt x="38957" y="1048"/>
                      <a:pt x="41624" y="2953"/>
                    </a:cubicBezTo>
                    <a:cubicBezTo>
                      <a:pt x="43625" y="4382"/>
                      <a:pt x="46958" y="7715"/>
                      <a:pt x="48006" y="9335"/>
                    </a:cubicBezTo>
                    <a:cubicBezTo>
                      <a:pt x="49911" y="11906"/>
                      <a:pt x="50387" y="14764"/>
                      <a:pt x="50387" y="17431"/>
                    </a:cubicBezTo>
                    <a:lnTo>
                      <a:pt x="50387" y="58198"/>
                    </a:lnTo>
                    <a:lnTo>
                      <a:pt x="37052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F24D56BB-E913-44AB-8968-70B8E20BB5F2}"/>
                  </a:ext>
                </a:extLst>
              </p:cNvPr>
              <p:cNvSpPr/>
              <p:nvPr/>
            </p:nvSpPr>
            <p:spPr>
              <a:xfrm>
                <a:off x="9959111" y="5311871"/>
                <a:ext cx="51054" cy="80676"/>
              </a:xfrm>
              <a:custGeom>
                <a:avLst/>
                <a:gdLst>
                  <a:gd name="connsiteX0" fmla="*/ 50101 w 51054"/>
                  <a:gd name="connsiteY0" fmla="*/ 12573 h 80676"/>
                  <a:gd name="connsiteX1" fmla="*/ 50101 w 51054"/>
                  <a:gd name="connsiteY1" fmla="*/ 62960 h 80676"/>
                  <a:gd name="connsiteX2" fmla="*/ 47816 w 51054"/>
                  <a:gd name="connsiteY2" fmla="*/ 71342 h 80676"/>
                  <a:gd name="connsiteX3" fmla="*/ 41434 w 51054"/>
                  <a:gd name="connsiteY3" fmla="*/ 77724 h 80676"/>
                  <a:gd name="connsiteX4" fmla="*/ 31718 w 51054"/>
                  <a:gd name="connsiteY4" fmla="*/ 80677 h 80676"/>
                  <a:gd name="connsiteX5" fmla="*/ 20002 w 51054"/>
                  <a:gd name="connsiteY5" fmla="*/ 80677 h 80676"/>
                  <a:gd name="connsiteX6" fmla="*/ 10382 w 51054"/>
                  <a:gd name="connsiteY6" fmla="*/ 77438 h 80676"/>
                  <a:gd name="connsiteX7" fmla="*/ 1810 w 51054"/>
                  <a:gd name="connsiteY7" fmla="*/ 67628 h 80676"/>
                  <a:gd name="connsiteX8" fmla="*/ 14192 w 51054"/>
                  <a:gd name="connsiteY8" fmla="*/ 63913 h 80676"/>
                  <a:gd name="connsiteX9" fmla="*/ 14573 w 51054"/>
                  <a:gd name="connsiteY9" fmla="*/ 64484 h 80676"/>
                  <a:gd name="connsiteX10" fmla="*/ 19526 w 51054"/>
                  <a:gd name="connsiteY10" fmla="*/ 68104 h 80676"/>
                  <a:gd name="connsiteX11" fmla="*/ 31528 w 51054"/>
                  <a:gd name="connsiteY11" fmla="*/ 68104 h 80676"/>
                  <a:gd name="connsiteX12" fmla="*/ 32290 w 51054"/>
                  <a:gd name="connsiteY12" fmla="*/ 67818 h 80676"/>
                  <a:gd name="connsiteX13" fmla="*/ 36671 w 51054"/>
                  <a:gd name="connsiteY13" fmla="*/ 63722 h 80676"/>
                  <a:gd name="connsiteX14" fmla="*/ 36671 w 51054"/>
                  <a:gd name="connsiteY14" fmla="*/ 55626 h 80676"/>
                  <a:gd name="connsiteX15" fmla="*/ 28766 w 51054"/>
                  <a:gd name="connsiteY15" fmla="*/ 58865 h 80676"/>
                  <a:gd name="connsiteX16" fmla="*/ 18479 w 51054"/>
                  <a:gd name="connsiteY16" fmla="*/ 58865 h 80676"/>
                  <a:gd name="connsiteX17" fmla="*/ 8763 w 51054"/>
                  <a:gd name="connsiteY17" fmla="*/ 55912 h 80676"/>
                  <a:gd name="connsiteX18" fmla="*/ 2381 w 51054"/>
                  <a:gd name="connsiteY18" fmla="*/ 49340 h 80676"/>
                  <a:gd name="connsiteX19" fmla="*/ 0 w 51054"/>
                  <a:gd name="connsiteY19" fmla="*/ 41053 h 80676"/>
                  <a:gd name="connsiteX20" fmla="*/ 0 w 51054"/>
                  <a:gd name="connsiteY20" fmla="*/ 17717 h 80676"/>
                  <a:gd name="connsiteX21" fmla="*/ 2381 w 51054"/>
                  <a:gd name="connsiteY21" fmla="*/ 9430 h 80676"/>
                  <a:gd name="connsiteX22" fmla="*/ 8763 w 51054"/>
                  <a:gd name="connsiteY22" fmla="*/ 2953 h 80676"/>
                  <a:gd name="connsiteX23" fmla="*/ 18479 w 51054"/>
                  <a:gd name="connsiteY23" fmla="*/ 0 h 80676"/>
                  <a:gd name="connsiteX24" fmla="*/ 28766 w 51054"/>
                  <a:gd name="connsiteY24" fmla="*/ 0 h 80676"/>
                  <a:gd name="connsiteX25" fmla="*/ 37529 w 51054"/>
                  <a:gd name="connsiteY25" fmla="*/ 3619 h 80676"/>
                  <a:gd name="connsiteX26" fmla="*/ 37909 w 51054"/>
                  <a:gd name="connsiteY26" fmla="*/ 667 h 80676"/>
                  <a:gd name="connsiteX27" fmla="*/ 51054 w 51054"/>
                  <a:gd name="connsiteY27" fmla="*/ 667 h 80676"/>
                  <a:gd name="connsiteX28" fmla="*/ 49816 w 51054"/>
                  <a:gd name="connsiteY28" fmla="*/ 12668 h 80676"/>
                  <a:gd name="connsiteX29" fmla="*/ 28575 w 51054"/>
                  <a:gd name="connsiteY29" fmla="*/ 46006 h 80676"/>
                  <a:gd name="connsiteX30" fmla="*/ 29527 w 51054"/>
                  <a:gd name="connsiteY30" fmla="*/ 45911 h 80676"/>
                  <a:gd name="connsiteX31" fmla="*/ 36862 w 51054"/>
                  <a:gd name="connsiteY31" fmla="*/ 39910 h 80676"/>
                  <a:gd name="connsiteX32" fmla="*/ 36862 w 51054"/>
                  <a:gd name="connsiteY32" fmla="*/ 18860 h 80676"/>
                  <a:gd name="connsiteX33" fmla="*/ 28575 w 51054"/>
                  <a:gd name="connsiteY33" fmla="*/ 12573 h 80676"/>
                  <a:gd name="connsiteX34" fmla="*/ 18859 w 51054"/>
                  <a:gd name="connsiteY34" fmla="*/ 12573 h 80676"/>
                  <a:gd name="connsiteX35" fmla="*/ 18097 w 51054"/>
                  <a:gd name="connsiteY35" fmla="*/ 12859 h 80676"/>
                  <a:gd name="connsiteX36" fmla="*/ 13716 w 51054"/>
                  <a:gd name="connsiteY36" fmla="*/ 17240 h 80676"/>
                  <a:gd name="connsiteX37" fmla="*/ 13621 w 51054"/>
                  <a:gd name="connsiteY37" fmla="*/ 17907 h 80676"/>
                  <a:gd name="connsiteX38" fmla="*/ 13621 w 51054"/>
                  <a:gd name="connsiteY38" fmla="*/ 40672 h 80676"/>
                  <a:gd name="connsiteX39" fmla="*/ 13716 w 51054"/>
                  <a:gd name="connsiteY39" fmla="*/ 41434 h 80676"/>
                  <a:gd name="connsiteX40" fmla="*/ 18097 w 51054"/>
                  <a:gd name="connsiteY40" fmla="*/ 45815 h 80676"/>
                  <a:gd name="connsiteX41" fmla="*/ 18859 w 51054"/>
                  <a:gd name="connsiteY41" fmla="*/ 45911 h 80676"/>
                  <a:gd name="connsiteX42" fmla="*/ 28575 w 51054"/>
                  <a:gd name="connsiteY42" fmla="*/ 45911 h 8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1054" h="80676">
                    <a:moveTo>
                      <a:pt x="50101" y="12573"/>
                    </a:moveTo>
                    <a:lnTo>
                      <a:pt x="50101" y="62960"/>
                    </a:lnTo>
                    <a:cubicBezTo>
                      <a:pt x="50101" y="65723"/>
                      <a:pt x="49721" y="68866"/>
                      <a:pt x="47816" y="71342"/>
                    </a:cubicBezTo>
                    <a:cubicBezTo>
                      <a:pt x="46768" y="72962"/>
                      <a:pt x="43434" y="76295"/>
                      <a:pt x="41434" y="77724"/>
                    </a:cubicBezTo>
                    <a:cubicBezTo>
                      <a:pt x="38767" y="79629"/>
                      <a:pt x="34862" y="80677"/>
                      <a:pt x="31718" y="80677"/>
                    </a:cubicBezTo>
                    <a:lnTo>
                      <a:pt x="20002" y="80677"/>
                    </a:lnTo>
                    <a:cubicBezTo>
                      <a:pt x="16764" y="80677"/>
                      <a:pt x="12954" y="79248"/>
                      <a:pt x="10382" y="77438"/>
                    </a:cubicBezTo>
                    <a:cubicBezTo>
                      <a:pt x="8192" y="76010"/>
                      <a:pt x="3143" y="70771"/>
                      <a:pt x="1810" y="67628"/>
                    </a:cubicBezTo>
                    <a:lnTo>
                      <a:pt x="14192" y="63913"/>
                    </a:lnTo>
                    <a:cubicBezTo>
                      <a:pt x="14192" y="63913"/>
                      <a:pt x="14383" y="64199"/>
                      <a:pt x="14573" y="64484"/>
                    </a:cubicBezTo>
                    <a:cubicBezTo>
                      <a:pt x="15335" y="65437"/>
                      <a:pt x="18193" y="68104"/>
                      <a:pt x="19526" y="68104"/>
                    </a:cubicBezTo>
                    <a:lnTo>
                      <a:pt x="31528" y="68104"/>
                    </a:lnTo>
                    <a:cubicBezTo>
                      <a:pt x="31528" y="68104"/>
                      <a:pt x="32099" y="68009"/>
                      <a:pt x="32290" y="67818"/>
                    </a:cubicBezTo>
                    <a:cubicBezTo>
                      <a:pt x="33528" y="67151"/>
                      <a:pt x="36576" y="64770"/>
                      <a:pt x="36671" y="63722"/>
                    </a:cubicBezTo>
                    <a:lnTo>
                      <a:pt x="36671" y="55626"/>
                    </a:lnTo>
                    <a:cubicBezTo>
                      <a:pt x="34385" y="57245"/>
                      <a:pt x="31623" y="58865"/>
                      <a:pt x="28766" y="58865"/>
                    </a:cubicBezTo>
                    <a:lnTo>
                      <a:pt x="18479" y="58865"/>
                    </a:lnTo>
                    <a:cubicBezTo>
                      <a:pt x="15240" y="58865"/>
                      <a:pt x="11430" y="57817"/>
                      <a:pt x="8763" y="55912"/>
                    </a:cubicBezTo>
                    <a:cubicBezTo>
                      <a:pt x="6667" y="54483"/>
                      <a:pt x="3429" y="50863"/>
                      <a:pt x="2381" y="49340"/>
                    </a:cubicBezTo>
                    <a:cubicBezTo>
                      <a:pt x="476" y="46768"/>
                      <a:pt x="0" y="43910"/>
                      <a:pt x="0" y="41053"/>
                    </a:cubicBezTo>
                    <a:lnTo>
                      <a:pt x="0" y="17717"/>
                    </a:lnTo>
                    <a:cubicBezTo>
                      <a:pt x="0" y="14954"/>
                      <a:pt x="571" y="12001"/>
                      <a:pt x="2381" y="9430"/>
                    </a:cubicBezTo>
                    <a:cubicBezTo>
                      <a:pt x="3429" y="8001"/>
                      <a:pt x="6667" y="4382"/>
                      <a:pt x="8763" y="2953"/>
                    </a:cubicBezTo>
                    <a:cubicBezTo>
                      <a:pt x="11430" y="1048"/>
                      <a:pt x="15240" y="0"/>
                      <a:pt x="18479" y="0"/>
                    </a:cubicBezTo>
                    <a:lnTo>
                      <a:pt x="28766" y="0"/>
                    </a:lnTo>
                    <a:cubicBezTo>
                      <a:pt x="32004" y="0"/>
                      <a:pt x="35147" y="1714"/>
                      <a:pt x="37529" y="3619"/>
                    </a:cubicBezTo>
                    <a:lnTo>
                      <a:pt x="37909" y="667"/>
                    </a:lnTo>
                    <a:lnTo>
                      <a:pt x="51054" y="667"/>
                    </a:lnTo>
                    <a:lnTo>
                      <a:pt x="49816" y="12668"/>
                    </a:lnTo>
                    <a:close/>
                    <a:moveTo>
                      <a:pt x="28575" y="46006"/>
                    </a:moveTo>
                    <a:cubicBezTo>
                      <a:pt x="28575" y="46006"/>
                      <a:pt x="29242" y="46006"/>
                      <a:pt x="29527" y="45911"/>
                    </a:cubicBezTo>
                    <a:cubicBezTo>
                      <a:pt x="31909" y="44672"/>
                      <a:pt x="35147" y="41910"/>
                      <a:pt x="36862" y="39910"/>
                    </a:cubicBezTo>
                    <a:lnTo>
                      <a:pt x="36862" y="18860"/>
                    </a:lnTo>
                    <a:cubicBezTo>
                      <a:pt x="34957" y="16859"/>
                      <a:pt x="30575" y="12573"/>
                      <a:pt x="28575" y="12573"/>
                    </a:cubicBezTo>
                    <a:lnTo>
                      <a:pt x="18859" y="12573"/>
                    </a:lnTo>
                    <a:cubicBezTo>
                      <a:pt x="18859" y="12573"/>
                      <a:pt x="18288" y="12668"/>
                      <a:pt x="18097" y="12859"/>
                    </a:cubicBezTo>
                    <a:cubicBezTo>
                      <a:pt x="16669" y="13811"/>
                      <a:pt x="14573" y="15621"/>
                      <a:pt x="13716" y="17240"/>
                    </a:cubicBezTo>
                    <a:cubicBezTo>
                      <a:pt x="13621" y="17526"/>
                      <a:pt x="13621" y="17907"/>
                      <a:pt x="13621" y="17907"/>
                    </a:cubicBezTo>
                    <a:lnTo>
                      <a:pt x="13621" y="40672"/>
                    </a:lnTo>
                    <a:cubicBezTo>
                      <a:pt x="13621" y="40672"/>
                      <a:pt x="13621" y="41243"/>
                      <a:pt x="13716" y="41434"/>
                    </a:cubicBezTo>
                    <a:cubicBezTo>
                      <a:pt x="14668" y="43053"/>
                      <a:pt x="16669" y="44863"/>
                      <a:pt x="18097" y="45815"/>
                    </a:cubicBezTo>
                    <a:cubicBezTo>
                      <a:pt x="18383" y="45911"/>
                      <a:pt x="18764" y="45911"/>
                      <a:pt x="18859" y="45911"/>
                    </a:cubicBezTo>
                    <a:lnTo>
                      <a:pt x="28575" y="4591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5" name="Freihandform: Form 194">
                <a:extLst>
                  <a:ext uri="{FF2B5EF4-FFF2-40B4-BE49-F238E27FC236}">
                    <a16:creationId xmlns:a16="http://schemas.microsoft.com/office/drawing/2014/main" id="{24B825F8-2D2C-449E-8252-9D8A2F76B1A6}"/>
                  </a:ext>
                </a:extLst>
              </p:cNvPr>
              <p:cNvSpPr/>
              <p:nvPr/>
            </p:nvSpPr>
            <p:spPr>
              <a:xfrm>
                <a:off x="10029595" y="5311776"/>
                <a:ext cx="49434" cy="58864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861 w 49434"/>
                  <a:gd name="connsiteY27" fmla="*/ 12763 h 58864"/>
                  <a:gd name="connsiteX28" fmla="*/ 18764 w 49434"/>
                  <a:gd name="connsiteY28" fmla="*/ 12763 h 58864"/>
                  <a:gd name="connsiteX29" fmla="*/ 13525 w 49434"/>
                  <a:gd name="connsiteY29" fmla="*/ 17050 h 58864"/>
                  <a:gd name="connsiteX30" fmla="*/ 13430 w 49434"/>
                  <a:gd name="connsiteY30" fmla="*/ 17812 h 58864"/>
                  <a:gd name="connsiteX31" fmla="*/ 13430 w 49434"/>
                  <a:gd name="connsiteY31" fmla="*/ 23813 h 58864"/>
                  <a:gd name="connsiteX32" fmla="*/ 36195 w 49434"/>
                  <a:gd name="connsiteY32" fmla="*/ 23813 h 58864"/>
                  <a:gd name="connsiteX33" fmla="*/ 36195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862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20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20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242" y="15621"/>
                      <a:pt x="33338" y="13716"/>
                      <a:pt x="31718" y="12859"/>
                    </a:cubicBezTo>
                    <a:cubicBezTo>
                      <a:pt x="31433" y="12763"/>
                      <a:pt x="31147" y="12763"/>
                      <a:pt x="30861" y="12763"/>
                    </a:cubicBezTo>
                    <a:lnTo>
                      <a:pt x="18764" y="12763"/>
                    </a:lnTo>
                    <a:cubicBezTo>
                      <a:pt x="17431" y="12763"/>
                      <a:pt x="14764" y="15050"/>
                      <a:pt x="13525" y="17050"/>
                    </a:cubicBezTo>
                    <a:cubicBezTo>
                      <a:pt x="13430" y="17336"/>
                      <a:pt x="13430" y="17812"/>
                      <a:pt x="13430" y="17812"/>
                    </a:cubicBezTo>
                    <a:lnTo>
                      <a:pt x="13430" y="23813"/>
                    </a:lnTo>
                    <a:lnTo>
                      <a:pt x="36195" y="23813"/>
                    </a:lnTo>
                    <a:lnTo>
                      <a:pt x="36195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4DB3609D-8424-4EDA-A5A4-6C74EEFC8DAB}"/>
                  </a:ext>
                </a:extLst>
              </p:cNvPr>
              <p:cNvSpPr/>
              <p:nvPr/>
            </p:nvSpPr>
            <p:spPr>
              <a:xfrm>
                <a:off x="10095128" y="5311871"/>
                <a:ext cx="50482" cy="58197"/>
              </a:xfrm>
              <a:custGeom>
                <a:avLst/>
                <a:gdLst>
                  <a:gd name="connsiteX0" fmla="*/ 37243 w 50482"/>
                  <a:gd name="connsiteY0" fmla="*/ 58103 h 58197"/>
                  <a:gd name="connsiteX1" fmla="*/ 37243 w 50482"/>
                  <a:gd name="connsiteY1" fmla="*/ 17621 h 58197"/>
                  <a:gd name="connsiteX2" fmla="*/ 37147 w 50482"/>
                  <a:gd name="connsiteY2" fmla="*/ 16859 h 58197"/>
                  <a:gd name="connsiteX3" fmla="*/ 32956 w 50482"/>
                  <a:gd name="connsiteY3" fmla="*/ 12763 h 58197"/>
                  <a:gd name="connsiteX4" fmla="*/ 31909 w 50482"/>
                  <a:gd name="connsiteY4" fmla="*/ 12668 h 58197"/>
                  <a:gd name="connsiteX5" fmla="*/ 22574 w 50482"/>
                  <a:gd name="connsiteY5" fmla="*/ 12668 h 58197"/>
                  <a:gd name="connsiteX6" fmla="*/ 14668 w 50482"/>
                  <a:gd name="connsiteY6" fmla="*/ 18098 h 58197"/>
                  <a:gd name="connsiteX7" fmla="*/ 14668 w 50482"/>
                  <a:gd name="connsiteY7" fmla="*/ 58198 h 58197"/>
                  <a:gd name="connsiteX8" fmla="*/ 1333 w 50482"/>
                  <a:gd name="connsiteY8" fmla="*/ 58198 h 58197"/>
                  <a:gd name="connsiteX9" fmla="*/ 1333 w 50482"/>
                  <a:gd name="connsiteY9" fmla="*/ 12478 h 58197"/>
                  <a:gd name="connsiteX10" fmla="*/ 0 w 50482"/>
                  <a:gd name="connsiteY10" fmla="*/ 667 h 58197"/>
                  <a:gd name="connsiteX11" fmla="*/ 13240 w 50482"/>
                  <a:gd name="connsiteY11" fmla="*/ 667 h 58197"/>
                  <a:gd name="connsiteX12" fmla="*/ 13716 w 50482"/>
                  <a:gd name="connsiteY12" fmla="*/ 3715 h 58197"/>
                  <a:gd name="connsiteX13" fmla="*/ 22098 w 50482"/>
                  <a:gd name="connsiteY13" fmla="*/ 0 h 58197"/>
                  <a:gd name="connsiteX14" fmla="*/ 32004 w 50482"/>
                  <a:gd name="connsiteY14" fmla="*/ 0 h 58197"/>
                  <a:gd name="connsiteX15" fmla="*/ 41720 w 50482"/>
                  <a:gd name="connsiteY15" fmla="*/ 2953 h 58197"/>
                  <a:gd name="connsiteX16" fmla="*/ 48101 w 50482"/>
                  <a:gd name="connsiteY16" fmla="*/ 9335 h 58197"/>
                  <a:gd name="connsiteX17" fmla="*/ 50483 w 50482"/>
                  <a:gd name="connsiteY17" fmla="*/ 17431 h 58197"/>
                  <a:gd name="connsiteX18" fmla="*/ 50483 w 50482"/>
                  <a:gd name="connsiteY18" fmla="*/ 58198 h 58197"/>
                  <a:gd name="connsiteX19" fmla="*/ 37147 w 50482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147" y="16859"/>
                    </a:cubicBezTo>
                    <a:cubicBezTo>
                      <a:pt x="36385" y="15430"/>
                      <a:pt x="34480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3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2004" y="0"/>
                    </a:lnTo>
                    <a:cubicBezTo>
                      <a:pt x="35338" y="0"/>
                      <a:pt x="39053" y="1048"/>
                      <a:pt x="41720" y="2953"/>
                    </a:cubicBezTo>
                    <a:cubicBezTo>
                      <a:pt x="43720" y="4382"/>
                      <a:pt x="47054" y="7715"/>
                      <a:pt x="48101" y="9335"/>
                    </a:cubicBezTo>
                    <a:cubicBezTo>
                      <a:pt x="49911" y="11906"/>
                      <a:pt x="50483" y="14764"/>
                      <a:pt x="50483" y="17431"/>
                    </a:cubicBezTo>
                    <a:lnTo>
                      <a:pt x="50483" y="58198"/>
                    </a:lnTo>
                    <a:lnTo>
                      <a:pt x="37147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7" name="Freihandform: Form 196">
                <a:extLst>
                  <a:ext uri="{FF2B5EF4-FFF2-40B4-BE49-F238E27FC236}">
                    <a16:creationId xmlns:a16="http://schemas.microsoft.com/office/drawing/2014/main" id="{D7C78710-8934-4D03-9B00-A378230E875D}"/>
                  </a:ext>
                </a:extLst>
              </p:cNvPr>
              <p:cNvSpPr/>
              <p:nvPr/>
            </p:nvSpPr>
            <p:spPr>
              <a:xfrm>
                <a:off x="8876118" y="5439411"/>
                <a:ext cx="50958" cy="67913"/>
              </a:xfrm>
              <a:custGeom>
                <a:avLst/>
                <a:gdLst>
                  <a:gd name="connsiteX0" fmla="*/ 40862 w 50958"/>
                  <a:gd name="connsiteY0" fmla="*/ 67913 h 67913"/>
                  <a:gd name="connsiteX1" fmla="*/ 24670 w 50958"/>
                  <a:gd name="connsiteY1" fmla="*/ 39624 h 67913"/>
                  <a:gd name="connsiteX2" fmla="*/ 9239 w 50958"/>
                  <a:gd name="connsiteY2" fmla="*/ 39624 h 67913"/>
                  <a:gd name="connsiteX3" fmla="*/ 9239 w 50958"/>
                  <a:gd name="connsiteY3" fmla="*/ 67913 h 67913"/>
                  <a:gd name="connsiteX4" fmla="*/ 0 w 50958"/>
                  <a:gd name="connsiteY4" fmla="*/ 67913 h 67913"/>
                  <a:gd name="connsiteX5" fmla="*/ 0 w 50958"/>
                  <a:gd name="connsiteY5" fmla="*/ 0 h 67913"/>
                  <a:gd name="connsiteX6" fmla="*/ 31909 w 50958"/>
                  <a:gd name="connsiteY6" fmla="*/ 0 h 67913"/>
                  <a:gd name="connsiteX7" fmla="*/ 39529 w 50958"/>
                  <a:gd name="connsiteY7" fmla="*/ 2381 h 67913"/>
                  <a:gd name="connsiteX8" fmla="*/ 45529 w 50958"/>
                  <a:gd name="connsiteY8" fmla="*/ 8382 h 67913"/>
                  <a:gd name="connsiteX9" fmla="*/ 47434 w 50958"/>
                  <a:gd name="connsiteY9" fmla="*/ 14859 h 67913"/>
                  <a:gd name="connsiteX10" fmla="*/ 47434 w 50958"/>
                  <a:gd name="connsiteY10" fmla="*/ 25051 h 67913"/>
                  <a:gd name="connsiteX11" fmla="*/ 45529 w 50958"/>
                  <a:gd name="connsiteY11" fmla="*/ 31432 h 67913"/>
                  <a:gd name="connsiteX12" fmla="*/ 39529 w 50958"/>
                  <a:gd name="connsiteY12" fmla="*/ 37433 h 67913"/>
                  <a:gd name="connsiteX13" fmla="*/ 34195 w 50958"/>
                  <a:gd name="connsiteY13" fmla="*/ 39433 h 67913"/>
                  <a:gd name="connsiteX14" fmla="*/ 50959 w 50958"/>
                  <a:gd name="connsiteY14" fmla="*/ 67913 h 67913"/>
                  <a:gd name="connsiteX15" fmla="*/ 40862 w 50958"/>
                  <a:gd name="connsiteY15" fmla="*/ 67913 h 67913"/>
                  <a:gd name="connsiteX16" fmla="*/ 38195 w 50958"/>
                  <a:gd name="connsiteY16" fmla="*/ 15049 h 67913"/>
                  <a:gd name="connsiteX17" fmla="*/ 38100 w 50958"/>
                  <a:gd name="connsiteY17" fmla="*/ 13811 h 67913"/>
                  <a:gd name="connsiteX18" fmla="*/ 32575 w 50958"/>
                  <a:gd name="connsiteY18" fmla="*/ 8858 h 67913"/>
                  <a:gd name="connsiteX19" fmla="*/ 9430 w 50958"/>
                  <a:gd name="connsiteY19" fmla="*/ 8858 h 67913"/>
                  <a:gd name="connsiteX20" fmla="*/ 9430 w 50958"/>
                  <a:gd name="connsiteY20" fmla="*/ 30766 h 67913"/>
                  <a:gd name="connsiteX21" fmla="*/ 31909 w 50958"/>
                  <a:gd name="connsiteY21" fmla="*/ 30766 h 67913"/>
                  <a:gd name="connsiteX22" fmla="*/ 38100 w 50958"/>
                  <a:gd name="connsiteY22" fmla="*/ 26003 h 67913"/>
                  <a:gd name="connsiteX23" fmla="*/ 38195 w 50958"/>
                  <a:gd name="connsiteY23" fmla="*/ 24765 h 67913"/>
                  <a:gd name="connsiteX24" fmla="*/ 38195 w 50958"/>
                  <a:gd name="connsiteY24" fmla="*/ 15049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958" h="67913">
                    <a:moveTo>
                      <a:pt x="40862" y="67913"/>
                    </a:moveTo>
                    <a:lnTo>
                      <a:pt x="24670" y="39624"/>
                    </a:lnTo>
                    <a:lnTo>
                      <a:pt x="9239" y="39624"/>
                    </a:lnTo>
                    <a:lnTo>
                      <a:pt x="9239" y="67913"/>
                    </a:lnTo>
                    <a:lnTo>
                      <a:pt x="0" y="67913"/>
                    </a:lnTo>
                    <a:lnTo>
                      <a:pt x="0" y="0"/>
                    </a:lnTo>
                    <a:lnTo>
                      <a:pt x="31909" y="0"/>
                    </a:lnTo>
                    <a:cubicBezTo>
                      <a:pt x="34480" y="0"/>
                      <a:pt x="37433" y="857"/>
                      <a:pt x="39529" y="2381"/>
                    </a:cubicBezTo>
                    <a:cubicBezTo>
                      <a:pt x="41148" y="3524"/>
                      <a:pt x="44577" y="7048"/>
                      <a:pt x="45529" y="8382"/>
                    </a:cubicBezTo>
                    <a:cubicBezTo>
                      <a:pt x="46768" y="10287"/>
                      <a:pt x="47434" y="12573"/>
                      <a:pt x="47434" y="14859"/>
                    </a:cubicBezTo>
                    <a:lnTo>
                      <a:pt x="47434" y="25051"/>
                    </a:lnTo>
                    <a:cubicBezTo>
                      <a:pt x="47434" y="27337"/>
                      <a:pt x="46768" y="29432"/>
                      <a:pt x="45529" y="31432"/>
                    </a:cubicBezTo>
                    <a:cubicBezTo>
                      <a:pt x="44577" y="32766"/>
                      <a:pt x="41148" y="36290"/>
                      <a:pt x="39529" y="37433"/>
                    </a:cubicBezTo>
                    <a:cubicBezTo>
                      <a:pt x="38195" y="38481"/>
                      <a:pt x="35814" y="39624"/>
                      <a:pt x="34195" y="39433"/>
                    </a:cubicBezTo>
                    <a:lnTo>
                      <a:pt x="50959" y="67913"/>
                    </a:lnTo>
                    <a:lnTo>
                      <a:pt x="40862" y="67913"/>
                    </a:lnTo>
                    <a:close/>
                    <a:moveTo>
                      <a:pt x="38195" y="15049"/>
                    </a:moveTo>
                    <a:cubicBezTo>
                      <a:pt x="38195" y="15049"/>
                      <a:pt x="38195" y="13906"/>
                      <a:pt x="38100" y="13811"/>
                    </a:cubicBezTo>
                    <a:cubicBezTo>
                      <a:pt x="37433" y="12573"/>
                      <a:pt x="34099" y="8954"/>
                      <a:pt x="32575" y="8858"/>
                    </a:cubicBezTo>
                    <a:lnTo>
                      <a:pt x="9430" y="8858"/>
                    </a:lnTo>
                    <a:lnTo>
                      <a:pt x="9430" y="30766"/>
                    </a:lnTo>
                    <a:lnTo>
                      <a:pt x="31909" y="30766"/>
                    </a:lnTo>
                    <a:cubicBezTo>
                      <a:pt x="33909" y="30766"/>
                      <a:pt x="37243" y="27622"/>
                      <a:pt x="38100" y="26003"/>
                    </a:cubicBezTo>
                    <a:cubicBezTo>
                      <a:pt x="38195" y="25908"/>
                      <a:pt x="38195" y="24956"/>
                      <a:pt x="38195" y="24765"/>
                    </a:cubicBezTo>
                    <a:lnTo>
                      <a:pt x="38195" y="1504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8" name="Freihandform: Form 197">
                <a:extLst>
                  <a:ext uri="{FF2B5EF4-FFF2-40B4-BE49-F238E27FC236}">
                    <a16:creationId xmlns:a16="http://schemas.microsoft.com/office/drawing/2014/main" id="{429590E3-3564-42FB-AB59-23D30BFD8748}"/>
                  </a:ext>
                </a:extLst>
              </p:cNvPr>
              <p:cNvSpPr/>
              <p:nvPr/>
            </p:nvSpPr>
            <p:spPr>
              <a:xfrm>
                <a:off x="8938792" y="5457889"/>
                <a:ext cx="41910" cy="50006"/>
              </a:xfrm>
              <a:custGeom>
                <a:avLst/>
                <a:gdLst>
                  <a:gd name="connsiteX0" fmla="*/ 34385 w 41910"/>
                  <a:gd name="connsiteY0" fmla="*/ 47720 h 50006"/>
                  <a:gd name="connsiteX1" fmla="*/ 26670 w 41910"/>
                  <a:gd name="connsiteY1" fmla="*/ 50006 h 50006"/>
                  <a:gd name="connsiteX2" fmla="*/ 15145 w 41910"/>
                  <a:gd name="connsiteY2" fmla="*/ 50006 h 50006"/>
                  <a:gd name="connsiteX3" fmla="*/ 7334 w 41910"/>
                  <a:gd name="connsiteY3" fmla="*/ 47720 h 50006"/>
                  <a:gd name="connsiteX4" fmla="*/ 1905 w 41910"/>
                  <a:gd name="connsiteY4" fmla="*/ 42291 h 50006"/>
                  <a:gd name="connsiteX5" fmla="*/ 0 w 41910"/>
                  <a:gd name="connsiteY5" fmla="*/ 35814 h 50006"/>
                  <a:gd name="connsiteX6" fmla="*/ 0 w 41910"/>
                  <a:gd name="connsiteY6" fmla="*/ 14192 h 50006"/>
                  <a:gd name="connsiteX7" fmla="*/ 1905 w 41910"/>
                  <a:gd name="connsiteY7" fmla="*/ 7715 h 50006"/>
                  <a:gd name="connsiteX8" fmla="*/ 7334 w 41910"/>
                  <a:gd name="connsiteY8" fmla="*/ 2286 h 50006"/>
                  <a:gd name="connsiteX9" fmla="*/ 15145 w 41910"/>
                  <a:gd name="connsiteY9" fmla="*/ 0 h 50006"/>
                  <a:gd name="connsiteX10" fmla="*/ 26479 w 41910"/>
                  <a:gd name="connsiteY10" fmla="*/ 0 h 50006"/>
                  <a:gd name="connsiteX11" fmla="*/ 34290 w 41910"/>
                  <a:gd name="connsiteY11" fmla="*/ 2286 h 50006"/>
                  <a:gd name="connsiteX12" fmla="*/ 39719 w 41910"/>
                  <a:gd name="connsiteY12" fmla="*/ 7715 h 50006"/>
                  <a:gd name="connsiteX13" fmla="*/ 41529 w 41910"/>
                  <a:gd name="connsiteY13" fmla="*/ 14192 h 50006"/>
                  <a:gd name="connsiteX14" fmla="*/ 41529 w 41910"/>
                  <a:gd name="connsiteY14" fmla="*/ 28765 h 50006"/>
                  <a:gd name="connsiteX15" fmla="*/ 8858 w 41910"/>
                  <a:gd name="connsiteY15" fmla="*/ 28765 h 50006"/>
                  <a:gd name="connsiteX16" fmla="*/ 8858 w 41910"/>
                  <a:gd name="connsiteY16" fmla="*/ 35528 h 50006"/>
                  <a:gd name="connsiteX17" fmla="*/ 9049 w 41910"/>
                  <a:gd name="connsiteY17" fmla="*/ 36766 h 50006"/>
                  <a:gd name="connsiteX18" fmla="*/ 15145 w 41910"/>
                  <a:gd name="connsiteY18" fmla="*/ 41624 h 50006"/>
                  <a:gd name="connsiteX19" fmla="*/ 26956 w 41910"/>
                  <a:gd name="connsiteY19" fmla="*/ 41624 h 50006"/>
                  <a:gd name="connsiteX20" fmla="*/ 28289 w 41910"/>
                  <a:gd name="connsiteY20" fmla="*/ 41339 h 50006"/>
                  <a:gd name="connsiteX21" fmla="*/ 32956 w 41910"/>
                  <a:gd name="connsiteY21" fmla="*/ 36766 h 50006"/>
                  <a:gd name="connsiteX22" fmla="*/ 33623 w 41910"/>
                  <a:gd name="connsiteY22" fmla="*/ 35528 h 50006"/>
                  <a:gd name="connsiteX23" fmla="*/ 41910 w 41910"/>
                  <a:gd name="connsiteY23" fmla="*/ 38195 h 50006"/>
                  <a:gd name="connsiteX24" fmla="*/ 34480 w 41910"/>
                  <a:gd name="connsiteY24" fmla="*/ 47625 h 50006"/>
                  <a:gd name="connsiteX25" fmla="*/ 32766 w 41910"/>
                  <a:gd name="connsiteY25" fmla="*/ 14383 h 50006"/>
                  <a:gd name="connsiteX26" fmla="*/ 32671 w 41910"/>
                  <a:gd name="connsiteY26" fmla="*/ 13144 h 50006"/>
                  <a:gd name="connsiteX27" fmla="*/ 27813 w 41910"/>
                  <a:gd name="connsiteY27" fmla="*/ 8572 h 50006"/>
                  <a:gd name="connsiteX28" fmla="*/ 26479 w 41910"/>
                  <a:gd name="connsiteY28" fmla="*/ 8191 h 50006"/>
                  <a:gd name="connsiteX29" fmla="*/ 15240 w 41910"/>
                  <a:gd name="connsiteY29" fmla="*/ 8191 h 50006"/>
                  <a:gd name="connsiteX30" fmla="*/ 9144 w 41910"/>
                  <a:gd name="connsiteY30" fmla="*/ 13049 h 50006"/>
                  <a:gd name="connsiteX31" fmla="*/ 8953 w 41910"/>
                  <a:gd name="connsiteY31" fmla="*/ 14288 h 50006"/>
                  <a:gd name="connsiteX32" fmla="*/ 8953 w 41910"/>
                  <a:gd name="connsiteY32" fmla="*/ 20479 h 50006"/>
                  <a:gd name="connsiteX33" fmla="*/ 32861 w 41910"/>
                  <a:gd name="connsiteY33" fmla="*/ 20479 h 50006"/>
                  <a:gd name="connsiteX34" fmla="*/ 32861 w 41910"/>
                  <a:gd name="connsiteY34" fmla="*/ 14288 h 50006"/>
                  <a:gd name="connsiteX35" fmla="*/ 32861 w 41910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910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430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857" y="6477"/>
                      <a:pt x="5620" y="3524"/>
                      <a:pt x="7334" y="2286"/>
                    </a:cubicBezTo>
                    <a:cubicBezTo>
                      <a:pt x="9334" y="762"/>
                      <a:pt x="12382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910" y="38195"/>
                    </a:lnTo>
                    <a:cubicBezTo>
                      <a:pt x="40481" y="41624"/>
                      <a:pt x="37338" y="45625"/>
                      <a:pt x="34480" y="47625"/>
                    </a:cubicBezTo>
                    <a:moveTo>
                      <a:pt x="32766" y="14383"/>
                    </a:move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525"/>
                      <a:pt x="27813" y="8572"/>
                    </a:cubicBezTo>
                    <a:cubicBezTo>
                      <a:pt x="27527" y="8477"/>
                      <a:pt x="27146" y="8191"/>
                      <a:pt x="26479" y="8191"/>
                    </a:cubicBezTo>
                    <a:lnTo>
                      <a:pt x="15240" y="8191"/>
                    </a:lnTo>
                    <a:cubicBezTo>
                      <a:pt x="13049" y="8191"/>
                      <a:pt x="10001" y="11430"/>
                      <a:pt x="9144" y="13049"/>
                    </a:cubicBezTo>
                    <a:cubicBezTo>
                      <a:pt x="9049" y="13144"/>
                      <a:pt x="8953" y="13621"/>
                      <a:pt x="8953" y="14288"/>
                    </a:cubicBezTo>
                    <a:lnTo>
                      <a:pt x="8953" y="20479"/>
                    </a:lnTo>
                    <a:lnTo>
                      <a:pt x="32861" y="20479"/>
                    </a:lnTo>
                    <a:lnTo>
                      <a:pt x="32861" y="14288"/>
                    </a:lnTo>
                    <a:lnTo>
                      <a:pt x="32861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9" name="Freihandform: Form 198">
                <a:extLst>
                  <a:ext uri="{FF2B5EF4-FFF2-40B4-BE49-F238E27FC236}">
                    <a16:creationId xmlns:a16="http://schemas.microsoft.com/office/drawing/2014/main" id="{54675C3B-2973-4A3D-A301-4881C85C2BC6}"/>
                  </a:ext>
                </a:extLst>
              </p:cNvPr>
              <p:cNvSpPr/>
              <p:nvPr/>
            </p:nvSpPr>
            <p:spPr>
              <a:xfrm>
                <a:off x="8996324" y="5458461"/>
                <a:ext cx="41719" cy="49244"/>
              </a:xfrm>
              <a:custGeom>
                <a:avLst/>
                <a:gdLst>
                  <a:gd name="connsiteX0" fmla="*/ 32861 w 41719"/>
                  <a:gd name="connsiteY0" fmla="*/ 48863 h 49244"/>
                  <a:gd name="connsiteX1" fmla="*/ 32385 w 41719"/>
                  <a:gd name="connsiteY1" fmla="*/ 44863 h 49244"/>
                  <a:gd name="connsiteX2" fmla="*/ 23527 w 41719"/>
                  <a:gd name="connsiteY2" fmla="*/ 49244 h 49244"/>
                  <a:gd name="connsiteX3" fmla="*/ 15049 w 41719"/>
                  <a:gd name="connsiteY3" fmla="*/ 49244 h 49244"/>
                  <a:gd name="connsiteX4" fmla="*/ 7239 w 41719"/>
                  <a:gd name="connsiteY4" fmla="*/ 46958 h 49244"/>
                  <a:gd name="connsiteX5" fmla="*/ 1810 w 41719"/>
                  <a:gd name="connsiteY5" fmla="*/ 41529 h 49244"/>
                  <a:gd name="connsiteX6" fmla="*/ 0 w 41719"/>
                  <a:gd name="connsiteY6" fmla="*/ 35052 h 49244"/>
                  <a:gd name="connsiteX7" fmla="*/ 0 w 41719"/>
                  <a:gd name="connsiteY7" fmla="*/ 0 h 49244"/>
                  <a:gd name="connsiteX8" fmla="*/ 8858 w 41719"/>
                  <a:gd name="connsiteY8" fmla="*/ 0 h 49244"/>
                  <a:gd name="connsiteX9" fmla="*/ 8858 w 41719"/>
                  <a:gd name="connsiteY9" fmla="*/ 34862 h 49244"/>
                  <a:gd name="connsiteX10" fmla="*/ 8953 w 41719"/>
                  <a:gd name="connsiteY10" fmla="*/ 36100 h 49244"/>
                  <a:gd name="connsiteX11" fmla="*/ 13811 w 41719"/>
                  <a:gd name="connsiteY11" fmla="*/ 40767 h 49244"/>
                  <a:gd name="connsiteX12" fmla="*/ 15145 w 41719"/>
                  <a:gd name="connsiteY12" fmla="*/ 40957 h 49244"/>
                  <a:gd name="connsiteX13" fmla="*/ 23146 w 41719"/>
                  <a:gd name="connsiteY13" fmla="*/ 40957 h 49244"/>
                  <a:gd name="connsiteX14" fmla="*/ 31909 w 41719"/>
                  <a:gd name="connsiteY14" fmla="*/ 35243 h 49244"/>
                  <a:gd name="connsiteX15" fmla="*/ 31909 w 41719"/>
                  <a:gd name="connsiteY15" fmla="*/ 95 h 49244"/>
                  <a:gd name="connsiteX16" fmla="*/ 40767 w 41719"/>
                  <a:gd name="connsiteY16" fmla="*/ 95 h 49244"/>
                  <a:gd name="connsiteX17" fmla="*/ 40767 w 41719"/>
                  <a:gd name="connsiteY17" fmla="*/ 39815 h 49244"/>
                  <a:gd name="connsiteX18" fmla="*/ 41720 w 41719"/>
                  <a:gd name="connsiteY18" fmla="*/ 48863 h 49244"/>
                  <a:gd name="connsiteX19" fmla="*/ 32861 w 41719"/>
                  <a:gd name="connsiteY19" fmla="*/ 48863 h 4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244">
                    <a:moveTo>
                      <a:pt x="32861" y="48863"/>
                    </a:moveTo>
                    <a:lnTo>
                      <a:pt x="32385" y="44863"/>
                    </a:lnTo>
                    <a:cubicBezTo>
                      <a:pt x="30099" y="46863"/>
                      <a:pt x="26765" y="49244"/>
                      <a:pt x="23527" y="49244"/>
                    </a:cubicBezTo>
                    <a:lnTo>
                      <a:pt x="15049" y="49244"/>
                    </a:lnTo>
                    <a:cubicBezTo>
                      <a:pt x="12382" y="49244"/>
                      <a:pt x="9334" y="48482"/>
                      <a:pt x="7239" y="46958"/>
                    </a:cubicBezTo>
                    <a:cubicBezTo>
                      <a:pt x="5524" y="45720"/>
                      <a:pt x="2762" y="42767"/>
                      <a:pt x="1810" y="41529"/>
                    </a:cubicBezTo>
                    <a:cubicBezTo>
                      <a:pt x="476" y="39624"/>
                      <a:pt x="0" y="37338"/>
                      <a:pt x="0" y="35052"/>
                    </a:cubicBezTo>
                    <a:lnTo>
                      <a:pt x="0" y="0"/>
                    </a:lnTo>
                    <a:lnTo>
                      <a:pt x="8858" y="0"/>
                    </a:lnTo>
                    <a:lnTo>
                      <a:pt x="8858" y="34862"/>
                    </a:lnTo>
                    <a:cubicBezTo>
                      <a:pt x="8858" y="34862"/>
                      <a:pt x="8858" y="35909"/>
                      <a:pt x="8953" y="36100"/>
                    </a:cubicBezTo>
                    <a:cubicBezTo>
                      <a:pt x="9906" y="37719"/>
                      <a:pt x="12287" y="39815"/>
                      <a:pt x="13811" y="40767"/>
                    </a:cubicBezTo>
                    <a:cubicBezTo>
                      <a:pt x="14097" y="40862"/>
                      <a:pt x="14478" y="40957"/>
                      <a:pt x="15145" y="40957"/>
                    </a:cubicBezTo>
                    <a:lnTo>
                      <a:pt x="23146" y="40957"/>
                    </a:lnTo>
                    <a:cubicBezTo>
                      <a:pt x="25336" y="40957"/>
                      <a:pt x="30671" y="36671"/>
                      <a:pt x="31909" y="35243"/>
                    </a:cubicBezTo>
                    <a:lnTo>
                      <a:pt x="31909" y="95"/>
                    </a:lnTo>
                    <a:lnTo>
                      <a:pt x="40767" y="95"/>
                    </a:lnTo>
                    <a:lnTo>
                      <a:pt x="40767" y="39815"/>
                    </a:lnTo>
                    <a:lnTo>
                      <a:pt x="41720" y="48863"/>
                    </a:lnTo>
                    <a:lnTo>
                      <a:pt x="32861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0" name="Freihandform: Form 199">
                <a:extLst>
                  <a:ext uri="{FF2B5EF4-FFF2-40B4-BE49-F238E27FC236}">
                    <a16:creationId xmlns:a16="http://schemas.microsoft.com/office/drawing/2014/main" id="{4A103BA4-B71A-4ADE-BC8C-4515D21F82AC}"/>
                  </a:ext>
                </a:extLst>
              </p:cNvPr>
              <p:cNvSpPr/>
              <p:nvPr/>
            </p:nvSpPr>
            <p:spPr>
              <a:xfrm>
                <a:off x="9049473" y="5439315"/>
                <a:ext cx="31813" cy="67913"/>
              </a:xfrm>
              <a:custGeom>
                <a:avLst/>
                <a:gdLst>
                  <a:gd name="connsiteX0" fmla="*/ 16764 w 31813"/>
                  <a:gd name="connsiteY0" fmla="*/ 27432 h 67913"/>
                  <a:gd name="connsiteX1" fmla="*/ 16764 w 31813"/>
                  <a:gd name="connsiteY1" fmla="*/ 53340 h 67913"/>
                  <a:gd name="connsiteX2" fmla="*/ 16955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764" y="27432"/>
                    </a:moveTo>
                    <a:lnTo>
                      <a:pt x="16764" y="53340"/>
                    </a:lnTo>
                    <a:cubicBezTo>
                      <a:pt x="16764" y="54102"/>
                      <a:pt x="16859" y="54673"/>
                      <a:pt x="16955" y="54769"/>
                    </a:cubicBezTo>
                    <a:cubicBezTo>
                      <a:pt x="17907" y="56388"/>
                      <a:pt x="19907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384" y="67913"/>
                      <a:pt x="17431" y="67151"/>
                      <a:pt x="15335" y="65627"/>
                    </a:cubicBezTo>
                    <a:cubicBezTo>
                      <a:pt x="13621" y="64389"/>
                      <a:pt x="10859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1" name="Freihandform: Form 200">
                <a:extLst>
                  <a:ext uri="{FF2B5EF4-FFF2-40B4-BE49-F238E27FC236}">
                    <a16:creationId xmlns:a16="http://schemas.microsoft.com/office/drawing/2014/main" id="{2AD57013-F366-4214-A83D-17C07B155D86}"/>
                  </a:ext>
                </a:extLst>
              </p:cNvPr>
              <p:cNvSpPr/>
              <p:nvPr/>
            </p:nvSpPr>
            <p:spPr>
              <a:xfrm>
                <a:off x="9095574" y="5439506"/>
                <a:ext cx="9715" cy="67817"/>
              </a:xfrm>
              <a:custGeom>
                <a:avLst/>
                <a:gdLst>
                  <a:gd name="connsiteX0" fmla="*/ 952 w 9715"/>
                  <a:gd name="connsiteY0" fmla="*/ 67818 h 67817"/>
                  <a:gd name="connsiteX1" fmla="*/ 381 w 9715"/>
                  <a:gd name="connsiteY1" fmla="*/ 63627 h 67817"/>
                  <a:gd name="connsiteX2" fmla="*/ 0 w 9715"/>
                  <a:gd name="connsiteY2" fmla="*/ 60484 h 67817"/>
                  <a:gd name="connsiteX3" fmla="*/ 0 w 9715"/>
                  <a:gd name="connsiteY3" fmla="*/ 0 h 67817"/>
                  <a:gd name="connsiteX4" fmla="*/ 8573 w 9715"/>
                  <a:gd name="connsiteY4" fmla="*/ 0 h 67817"/>
                  <a:gd name="connsiteX5" fmla="*/ 8573 w 9715"/>
                  <a:gd name="connsiteY5" fmla="*/ 59150 h 67817"/>
                  <a:gd name="connsiteX6" fmla="*/ 9716 w 9715"/>
                  <a:gd name="connsiteY6" fmla="*/ 67818 h 67817"/>
                  <a:gd name="connsiteX7" fmla="*/ 857 w 9715"/>
                  <a:gd name="connsiteY7" fmla="*/ 67818 h 6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15" h="67817">
                    <a:moveTo>
                      <a:pt x="952" y="67818"/>
                    </a:moveTo>
                    <a:cubicBezTo>
                      <a:pt x="762" y="66199"/>
                      <a:pt x="571" y="64865"/>
                      <a:pt x="381" y="63627"/>
                    </a:cubicBezTo>
                    <a:cubicBezTo>
                      <a:pt x="191" y="62389"/>
                      <a:pt x="0" y="61341"/>
                      <a:pt x="0" y="60484"/>
                    </a:cubicBezTo>
                    <a:lnTo>
                      <a:pt x="0" y="0"/>
                    </a:lnTo>
                    <a:lnTo>
                      <a:pt x="8573" y="0"/>
                    </a:lnTo>
                    <a:lnTo>
                      <a:pt x="8573" y="59150"/>
                    </a:lnTo>
                    <a:cubicBezTo>
                      <a:pt x="8573" y="61531"/>
                      <a:pt x="9144" y="64675"/>
                      <a:pt x="9716" y="67818"/>
                    </a:cubicBezTo>
                    <a:lnTo>
                      <a:pt x="857" y="6781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2" name="Freihandform: Form 201">
                <a:extLst>
                  <a:ext uri="{FF2B5EF4-FFF2-40B4-BE49-F238E27FC236}">
                    <a16:creationId xmlns:a16="http://schemas.microsoft.com/office/drawing/2014/main" id="{62B3ACFF-168B-4262-8333-150CEECFB329}"/>
                  </a:ext>
                </a:extLst>
              </p:cNvPr>
              <p:cNvSpPr/>
              <p:nvPr/>
            </p:nvSpPr>
            <p:spPr>
              <a:xfrm>
                <a:off x="9124625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3" name="Freihandform: Form 202">
                <a:extLst>
                  <a:ext uri="{FF2B5EF4-FFF2-40B4-BE49-F238E27FC236}">
                    <a16:creationId xmlns:a16="http://schemas.microsoft.com/office/drawing/2014/main" id="{1F6B25BA-F264-46AD-92C5-900AE2E9AB3B}"/>
                  </a:ext>
                </a:extLst>
              </p:cNvPr>
              <p:cNvSpPr/>
              <p:nvPr/>
            </p:nvSpPr>
            <p:spPr>
              <a:xfrm>
                <a:off x="9148914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80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3 w 41719"/>
                  <a:gd name="connsiteY8" fmla="*/ 49339 h 49339"/>
                  <a:gd name="connsiteX9" fmla="*/ 953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20 w 41719"/>
                  <a:gd name="connsiteY17" fmla="*/ 14192 h 49339"/>
                  <a:gd name="connsiteX18" fmla="*/ 41720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430"/>
                      <a:pt x="27813" y="8477"/>
                    </a:cubicBezTo>
                    <a:cubicBezTo>
                      <a:pt x="27432" y="8382"/>
                      <a:pt x="27146" y="8287"/>
                      <a:pt x="26480" y="8287"/>
                    </a:cubicBezTo>
                    <a:lnTo>
                      <a:pt x="18479" y="8287"/>
                    </a:lnTo>
                    <a:cubicBezTo>
                      <a:pt x="16383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3" y="49339"/>
                    </a:lnTo>
                    <a:lnTo>
                      <a:pt x="953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337" y="0"/>
                      <a:pt x="32480" y="762"/>
                      <a:pt x="34481" y="2286"/>
                    </a:cubicBezTo>
                    <a:cubicBezTo>
                      <a:pt x="36195" y="3524"/>
                      <a:pt x="39053" y="6477"/>
                      <a:pt x="39910" y="7715"/>
                    </a:cubicBezTo>
                    <a:cubicBezTo>
                      <a:pt x="41243" y="9620"/>
                      <a:pt x="41720" y="11906"/>
                      <a:pt x="41720" y="14192"/>
                    </a:cubicBezTo>
                    <a:lnTo>
                      <a:pt x="41720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4" name="Freihandform: Form 203">
                <a:extLst>
                  <a:ext uri="{FF2B5EF4-FFF2-40B4-BE49-F238E27FC236}">
                    <a16:creationId xmlns:a16="http://schemas.microsoft.com/office/drawing/2014/main" id="{95935DC9-1BBB-48FD-94F9-2DA10EE484A6}"/>
                  </a:ext>
                </a:extLst>
              </p:cNvPr>
              <p:cNvSpPr/>
              <p:nvPr/>
            </p:nvSpPr>
            <p:spPr>
              <a:xfrm>
                <a:off x="9205207" y="5457985"/>
                <a:ext cx="42862" cy="68770"/>
              </a:xfrm>
              <a:custGeom>
                <a:avLst/>
                <a:gdLst>
                  <a:gd name="connsiteX0" fmla="*/ 42005 w 42862"/>
                  <a:gd name="connsiteY0" fmla="*/ 9715 h 68770"/>
                  <a:gd name="connsiteX1" fmla="*/ 42005 w 42862"/>
                  <a:gd name="connsiteY1" fmla="*/ 54388 h 68770"/>
                  <a:gd name="connsiteX2" fmla="*/ 40196 w 42862"/>
                  <a:gd name="connsiteY2" fmla="*/ 60960 h 68770"/>
                  <a:gd name="connsiteX3" fmla="*/ 34766 w 42862"/>
                  <a:gd name="connsiteY3" fmla="*/ 66389 h 68770"/>
                  <a:gd name="connsiteX4" fmla="*/ 26956 w 42862"/>
                  <a:gd name="connsiteY4" fmla="*/ 68770 h 68770"/>
                  <a:gd name="connsiteX5" fmla="*/ 15621 w 42862"/>
                  <a:gd name="connsiteY5" fmla="*/ 68770 h 68770"/>
                  <a:gd name="connsiteX6" fmla="*/ 7906 w 42862"/>
                  <a:gd name="connsiteY6" fmla="*/ 66389 h 68770"/>
                  <a:gd name="connsiteX7" fmla="*/ 286 w 42862"/>
                  <a:gd name="connsiteY7" fmla="*/ 56864 h 68770"/>
                  <a:gd name="connsiteX8" fmla="*/ 8573 w 42862"/>
                  <a:gd name="connsiteY8" fmla="*/ 54197 h 68770"/>
                  <a:gd name="connsiteX9" fmla="*/ 15240 w 42862"/>
                  <a:gd name="connsiteY9" fmla="*/ 60579 h 68770"/>
                  <a:gd name="connsiteX10" fmla="*/ 26765 w 42862"/>
                  <a:gd name="connsiteY10" fmla="*/ 60579 h 68770"/>
                  <a:gd name="connsiteX11" fmla="*/ 28099 w 42862"/>
                  <a:gd name="connsiteY11" fmla="*/ 60198 h 68770"/>
                  <a:gd name="connsiteX12" fmla="*/ 33052 w 42862"/>
                  <a:gd name="connsiteY12" fmla="*/ 55150 h 68770"/>
                  <a:gd name="connsiteX13" fmla="*/ 33052 w 42862"/>
                  <a:gd name="connsiteY13" fmla="*/ 45625 h 68770"/>
                  <a:gd name="connsiteX14" fmla="*/ 24384 w 42862"/>
                  <a:gd name="connsiteY14" fmla="*/ 49911 h 68770"/>
                  <a:gd name="connsiteX15" fmla="*/ 15050 w 42862"/>
                  <a:gd name="connsiteY15" fmla="*/ 49911 h 68770"/>
                  <a:gd name="connsiteX16" fmla="*/ 7239 w 42862"/>
                  <a:gd name="connsiteY16" fmla="*/ 47625 h 68770"/>
                  <a:gd name="connsiteX17" fmla="*/ 1810 w 42862"/>
                  <a:gd name="connsiteY17" fmla="*/ 42101 h 68770"/>
                  <a:gd name="connsiteX18" fmla="*/ 0 w 42862"/>
                  <a:gd name="connsiteY18" fmla="*/ 35528 h 68770"/>
                  <a:gd name="connsiteX19" fmla="*/ 0 w 42862"/>
                  <a:gd name="connsiteY19" fmla="*/ 14383 h 68770"/>
                  <a:gd name="connsiteX20" fmla="*/ 1810 w 42862"/>
                  <a:gd name="connsiteY20" fmla="*/ 7810 h 68770"/>
                  <a:gd name="connsiteX21" fmla="*/ 7239 w 42862"/>
                  <a:gd name="connsiteY21" fmla="*/ 2286 h 68770"/>
                  <a:gd name="connsiteX22" fmla="*/ 15050 w 42862"/>
                  <a:gd name="connsiteY22" fmla="*/ 0 h 68770"/>
                  <a:gd name="connsiteX23" fmla="*/ 24384 w 42862"/>
                  <a:gd name="connsiteY23" fmla="*/ 0 h 68770"/>
                  <a:gd name="connsiteX24" fmla="*/ 33528 w 42862"/>
                  <a:gd name="connsiteY24" fmla="*/ 4763 h 68770"/>
                  <a:gd name="connsiteX25" fmla="*/ 34004 w 42862"/>
                  <a:gd name="connsiteY25" fmla="*/ 571 h 68770"/>
                  <a:gd name="connsiteX26" fmla="*/ 42863 w 42862"/>
                  <a:gd name="connsiteY26" fmla="*/ 571 h 68770"/>
                  <a:gd name="connsiteX27" fmla="*/ 42005 w 42862"/>
                  <a:gd name="connsiteY27" fmla="*/ 9715 h 68770"/>
                  <a:gd name="connsiteX28" fmla="*/ 33242 w 42862"/>
                  <a:gd name="connsiteY28" fmla="*/ 14859 h 68770"/>
                  <a:gd name="connsiteX29" fmla="*/ 24098 w 42862"/>
                  <a:gd name="connsiteY29" fmla="*/ 8287 h 68770"/>
                  <a:gd name="connsiteX30" fmla="*/ 15240 w 42862"/>
                  <a:gd name="connsiteY30" fmla="*/ 8287 h 68770"/>
                  <a:gd name="connsiteX31" fmla="*/ 13906 w 42862"/>
                  <a:gd name="connsiteY31" fmla="*/ 8668 h 68770"/>
                  <a:gd name="connsiteX32" fmla="*/ 9049 w 42862"/>
                  <a:gd name="connsiteY32" fmla="*/ 13430 h 68770"/>
                  <a:gd name="connsiteX33" fmla="*/ 8858 w 42862"/>
                  <a:gd name="connsiteY33" fmla="*/ 14668 h 68770"/>
                  <a:gd name="connsiteX34" fmla="*/ 8858 w 42862"/>
                  <a:gd name="connsiteY34" fmla="*/ 35338 h 68770"/>
                  <a:gd name="connsiteX35" fmla="*/ 9049 w 42862"/>
                  <a:gd name="connsiteY35" fmla="*/ 36576 h 68770"/>
                  <a:gd name="connsiteX36" fmla="*/ 13906 w 42862"/>
                  <a:gd name="connsiteY36" fmla="*/ 41434 h 68770"/>
                  <a:gd name="connsiteX37" fmla="*/ 15240 w 42862"/>
                  <a:gd name="connsiteY37" fmla="*/ 41624 h 68770"/>
                  <a:gd name="connsiteX38" fmla="*/ 24098 w 42862"/>
                  <a:gd name="connsiteY38" fmla="*/ 41624 h 68770"/>
                  <a:gd name="connsiteX39" fmla="*/ 25146 w 42862"/>
                  <a:gd name="connsiteY39" fmla="*/ 41529 h 68770"/>
                  <a:gd name="connsiteX40" fmla="*/ 33338 w 42862"/>
                  <a:gd name="connsiteY40" fmla="*/ 35052 h 68770"/>
                  <a:gd name="connsiteX41" fmla="*/ 33338 w 42862"/>
                  <a:gd name="connsiteY41" fmla="*/ 14764 h 68770"/>
                  <a:gd name="connsiteX42" fmla="*/ 33338 w 42862"/>
                  <a:gd name="connsiteY42" fmla="*/ 14764 h 6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2862" h="68770">
                    <a:moveTo>
                      <a:pt x="42005" y="9715"/>
                    </a:moveTo>
                    <a:lnTo>
                      <a:pt x="42005" y="54388"/>
                    </a:lnTo>
                    <a:cubicBezTo>
                      <a:pt x="42005" y="56769"/>
                      <a:pt x="41529" y="59055"/>
                      <a:pt x="40196" y="60960"/>
                    </a:cubicBezTo>
                    <a:cubicBezTo>
                      <a:pt x="39243" y="62198"/>
                      <a:pt x="36481" y="65151"/>
                      <a:pt x="34766" y="66389"/>
                    </a:cubicBezTo>
                    <a:cubicBezTo>
                      <a:pt x="32766" y="67818"/>
                      <a:pt x="29527" y="68770"/>
                      <a:pt x="26956" y="68770"/>
                    </a:cubicBezTo>
                    <a:lnTo>
                      <a:pt x="15621" y="68770"/>
                    </a:lnTo>
                    <a:cubicBezTo>
                      <a:pt x="13049" y="68770"/>
                      <a:pt x="10001" y="67913"/>
                      <a:pt x="7906" y="66389"/>
                    </a:cubicBezTo>
                    <a:cubicBezTo>
                      <a:pt x="5334" y="64579"/>
                      <a:pt x="1715" y="60293"/>
                      <a:pt x="286" y="56864"/>
                    </a:cubicBezTo>
                    <a:lnTo>
                      <a:pt x="8573" y="54197"/>
                    </a:lnTo>
                    <a:cubicBezTo>
                      <a:pt x="9715" y="56483"/>
                      <a:pt x="12763" y="60579"/>
                      <a:pt x="15240" y="60579"/>
                    </a:cubicBezTo>
                    <a:lnTo>
                      <a:pt x="26765" y="60579"/>
                    </a:lnTo>
                    <a:cubicBezTo>
                      <a:pt x="27432" y="60579"/>
                      <a:pt x="27813" y="60389"/>
                      <a:pt x="28099" y="60198"/>
                    </a:cubicBezTo>
                    <a:cubicBezTo>
                      <a:pt x="29337" y="59531"/>
                      <a:pt x="32956" y="56483"/>
                      <a:pt x="33052" y="55150"/>
                    </a:cubicBezTo>
                    <a:lnTo>
                      <a:pt x="33052" y="45625"/>
                    </a:lnTo>
                    <a:cubicBezTo>
                      <a:pt x="30766" y="47720"/>
                      <a:pt x="27527" y="49911"/>
                      <a:pt x="24384" y="49911"/>
                    </a:cubicBezTo>
                    <a:lnTo>
                      <a:pt x="15050" y="49911"/>
                    </a:lnTo>
                    <a:cubicBezTo>
                      <a:pt x="12478" y="49911"/>
                      <a:pt x="9334" y="49149"/>
                      <a:pt x="7239" y="47625"/>
                    </a:cubicBezTo>
                    <a:cubicBezTo>
                      <a:pt x="5525" y="46387"/>
                      <a:pt x="2667" y="43339"/>
                      <a:pt x="1810" y="42101"/>
                    </a:cubicBezTo>
                    <a:cubicBezTo>
                      <a:pt x="476" y="40195"/>
                      <a:pt x="0" y="37909"/>
                      <a:pt x="0" y="35528"/>
                    </a:cubicBezTo>
                    <a:lnTo>
                      <a:pt x="0" y="14383"/>
                    </a:lnTo>
                    <a:cubicBezTo>
                      <a:pt x="0" y="12001"/>
                      <a:pt x="476" y="9715"/>
                      <a:pt x="1810" y="7810"/>
                    </a:cubicBezTo>
                    <a:cubicBezTo>
                      <a:pt x="2762" y="6572"/>
                      <a:pt x="5525" y="3524"/>
                      <a:pt x="7239" y="2286"/>
                    </a:cubicBezTo>
                    <a:cubicBezTo>
                      <a:pt x="9239" y="762"/>
                      <a:pt x="12478" y="0"/>
                      <a:pt x="15050" y="0"/>
                    </a:cubicBezTo>
                    <a:lnTo>
                      <a:pt x="24384" y="0"/>
                    </a:lnTo>
                    <a:cubicBezTo>
                      <a:pt x="27813" y="0"/>
                      <a:pt x="31147" y="2572"/>
                      <a:pt x="33528" y="4763"/>
                    </a:cubicBezTo>
                    <a:lnTo>
                      <a:pt x="34004" y="571"/>
                    </a:lnTo>
                    <a:lnTo>
                      <a:pt x="42863" y="571"/>
                    </a:lnTo>
                    <a:lnTo>
                      <a:pt x="42005" y="9715"/>
                    </a:lnTo>
                    <a:close/>
                    <a:moveTo>
                      <a:pt x="33242" y="14859"/>
                    </a:moveTo>
                    <a:cubicBezTo>
                      <a:pt x="31909" y="13240"/>
                      <a:pt x="26479" y="8287"/>
                      <a:pt x="24098" y="8287"/>
                    </a:cubicBezTo>
                    <a:lnTo>
                      <a:pt x="15240" y="8287"/>
                    </a:lnTo>
                    <a:cubicBezTo>
                      <a:pt x="14573" y="8287"/>
                      <a:pt x="14192" y="8477"/>
                      <a:pt x="13906" y="8668"/>
                    </a:cubicBezTo>
                    <a:cubicBezTo>
                      <a:pt x="12287" y="9525"/>
                      <a:pt x="9906" y="11811"/>
                      <a:pt x="9049" y="13430"/>
                    </a:cubicBezTo>
                    <a:cubicBezTo>
                      <a:pt x="8954" y="13526"/>
                      <a:pt x="8858" y="14002"/>
                      <a:pt x="8858" y="14668"/>
                    </a:cubicBezTo>
                    <a:lnTo>
                      <a:pt x="8858" y="35338"/>
                    </a:lnTo>
                    <a:cubicBezTo>
                      <a:pt x="8858" y="36004"/>
                      <a:pt x="8954" y="36481"/>
                      <a:pt x="9049" y="36576"/>
                    </a:cubicBezTo>
                    <a:cubicBezTo>
                      <a:pt x="10001" y="38195"/>
                      <a:pt x="12382" y="40576"/>
                      <a:pt x="13906" y="41434"/>
                    </a:cubicBezTo>
                    <a:cubicBezTo>
                      <a:pt x="14288" y="41529"/>
                      <a:pt x="14573" y="41624"/>
                      <a:pt x="15240" y="41624"/>
                    </a:cubicBezTo>
                    <a:lnTo>
                      <a:pt x="24098" y="41624"/>
                    </a:lnTo>
                    <a:cubicBezTo>
                      <a:pt x="24098" y="41624"/>
                      <a:pt x="24860" y="41624"/>
                      <a:pt x="25146" y="41529"/>
                    </a:cubicBezTo>
                    <a:cubicBezTo>
                      <a:pt x="27623" y="40291"/>
                      <a:pt x="31718" y="37147"/>
                      <a:pt x="33338" y="35052"/>
                    </a:cubicBezTo>
                    <a:lnTo>
                      <a:pt x="33338" y="14764"/>
                    </a:lnTo>
                    <a:lnTo>
                      <a:pt x="33338" y="1476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5" name="Freihandform: Form 204">
                <a:extLst>
                  <a:ext uri="{FF2B5EF4-FFF2-40B4-BE49-F238E27FC236}">
                    <a16:creationId xmlns:a16="http://schemas.microsoft.com/office/drawing/2014/main" id="{7A972844-71D6-401F-9D9A-944DD0756609}"/>
                  </a:ext>
                </a:extLst>
              </p:cNvPr>
              <p:cNvSpPr/>
              <p:nvPr/>
            </p:nvSpPr>
            <p:spPr>
              <a:xfrm>
                <a:off x="9262547" y="5457889"/>
                <a:ext cx="41814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6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383" y="50006"/>
                      <a:pt x="9335" y="49244"/>
                      <a:pt x="7334" y="47720"/>
                    </a:cubicBezTo>
                    <a:cubicBezTo>
                      <a:pt x="5620" y="46482"/>
                      <a:pt x="2858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5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4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4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6" y="13144"/>
                    </a:cubicBezTo>
                    <a:cubicBezTo>
                      <a:pt x="31623" y="11525"/>
                      <a:pt x="29242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4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6" name="Freihandform: Form 205">
                <a:extLst>
                  <a:ext uri="{FF2B5EF4-FFF2-40B4-BE49-F238E27FC236}">
                    <a16:creationId xmlns:a16="http://schemas.microsoft.com/office/drawing/2014/main" id="{B360436F-2F6D-4DAF-8CD3-D81A51157FA6}"/>
                  </a:ext>
                </a:extLst>
              </p:cNvPr>
              <p:cNvSpPr/>
              <p:nvPr/>
            </p:nvSpPr>
            <p:spPr>
              <a:xfrm>
                <a:off x="9318078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9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1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7" name="Freihandform: Form 206">
                <a:extLst>
                  <a:ext uri="{FF2B5EF4-FFF2-40B4-BE49-F238E27FC236}">
                    <a16:creationId xmlns:a16="http://schemas.microsoft.com/office/drawing/2014/main" id="{418E19F8-DC26-4344-9F05-CF4E3A997737}"/>
                  </a:ext>
                </a:extLst>
              </p:cNvPr>
              <p:cNvSpPr/>
              <p:nvPr/>
            </p:nvSpPr>
            <p:spPr>
              <a:xfrm>
                <a:off x="9403136" y="5439411"/>
                <a:ext cx="47529" cy="68389"/>
              </a:xfrm>
              <a:custGeom>
                <a:avLst/>
                <a:gdLst>
                  <a:gd name="connsiteX0" fmla="*/ 46196 w 47529"/>
                  <a:gd name="connsiteY0" fmla="*/ 58579 h 68389"/>
                  <a:gd name="connsiteX1" fmla="*/ 38100 w 47529"/>
                  <a:gd name="connsiteY1" fmla="*/ 66484 h 68389"/>
                  <a:gd name="connsiteX2" fmla="*/ 31623 w 47529"/>
                  <a:gd name="connsiteY2" fmla="*/ 68390 h 68389"/>
                  <a:gd name="connsiteX3" fmla="*/ 16478 w 47529"/>
                  <a:gd name="connsiteY3" fmla="*/ 68390 h 68389"/>
                  <a:gd name="connsiteX4" fmla="*/ 9906 w 47529"/>
                  <a:gd name="connsiteY4" fmla="*/ 66484 h 68389"/>
                  <a:gd name="connsiteX5" fmla="*/ 1715 w 47529"/>
                  <a:gd name="connsiteY5" fmla="*/ 58579 h 68389"/>
                  <a:gd name="connsiteX6" fmla="*/ 0 w 47529"/>
                  <a:gd name="connsiteY6" fmla="*/ 52673 h 68389"/>
                  <a:gd name="connsiteX7" fmla="*/ 0 w 47529"/>
                  <a:gd name="connsiteY7" fmla="*/ 0 h 68389"/>
                  <a:gd name="connsiteX8" fmla="*/ 9239 w 47529"/>
                  <a:gd name="connsiteY8" fmla="*/ 0 h 68389"/>
                  <a:gd name="connsiteX9" fmla="*/ 9239 w 47529"/>
                  <a:gd name="connsiteY9" fmla="*/ 52483 h 68389"/>
                  <a:gd name="connsiteX10" fmla="*/ 16097 w 47529"/>
                  <a:gd name="connsiteY10" fmla="*/ 59531 h 68389"/>
                  <a:gd name="connsiteX11" fmla="*/ 16859 w 47529"/>
                  <a:gd name="connsiteY11" fmla="*/ 59627 h 68389"/>
                  <a:gd name="connsiteX12" fmla="*/ 30861 w 47529"/>
                  <a:gd name="connsiteY12" fmla="*/ 59627 h 68389"/>
                  <a:gd name="connsiteX13" fmla="*/ 31623 w 47529"/>
                  <a:gd name="connsiteY13" fmla="*/ 59531 h 68389"/>
                  <a:gd name="connsiteX14" fmla="*/ 38290 w 47529"/>
                  <a:gd name="connsiteY14" fmla="*/ 52483 h 68389"/>
                  <a:gd name="connsiteX15" fmla="*/ 38290 w 47529"/>
                  <a:gd name="connsiteY15" fmla="*/ 0 h 68389"/>
                  <a:gd name="connsiteX16" fmla="*/ 47530 w 47529"/>
                  <a:gd name="connsiteY16" fmla="*/ 0 h 68389"/>
                  <a:gd name="connsiteX17" fmla="*/ 47530 w 47529"/>
                  <a:gd name="connsiteY17" fmla="*/ 52673 h 68389"/>
                  <a:gd name="connsiteX18" fmla="*/ 45910 w 47529"/>
                  <a:gd name="connsiteY18" fmla="*/ 58579 h 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529" h="68389">
                    <a:moveTo>
                      <a:pt x="46196" y="58579"/>
                    </a:moveTo>
                    <a:cubicBezTo>
                      <a:pt x="44863" y="60579"/>
                      <a:pt x="40291" y="65151"/>
                      <a:pt x="38100" y="66484"/>
                    </a:cubicBezTo>
                    <a:cubicBezTo>
                      <a:pt x="36290" y="67532"/>
                      <a:pt x="33814" y="68390"/>
                      <a:pt x="31623" y="68390"/>
                    </a:cubicBezTo>
                    <a:lnTo>
                      <a:pt x="16478" y="68390"/>
                    </a:lnTo>
                    <a:cubicBezTo>
                      <a:pt x="14383" y="68390"/>
                      <a:pt x="11716" y="67437"/>
                      <a:pt x="9906" y="66484"/>
                    </a:cubicBezTo>
                    <a:cubicBezTo>
                      <a:pt x="7620" y="65151"/>
                      <a:pt x="3143" y="60579"/>
                      <a:pt x="1715" y="58579"/>
                    </a:cubicBezTo>
                    <a:cubicBezTo>
                      <a:pt x="476" y="56769"/>
                      <a:pt x="0" y="54769"/>
                      <a:pt x="0" y="52673"/>
                    </a:cubicBezTo>
                    <a:lnTo>
                      <a:pt x="0" y="0"/>
                    </a:lnTo>
                    <a:lnTo>
                      <a:pt x="9239" y="0"/>
                    </a:lnTo>
                    <a:lnTo>
                      <a:pt x="9239" y="52483"/>
                    </a:lnTo>
                    <a:cubicBezTo>
                      <a:pt x="9239" y="54197"/>
                      <a:pt x="14478" y="58674"/>
                      <a:pt x="16097" y="59531"/>
                    </a:cubicBezTo>
                    <a:cubicBezTo>
                      <a:pt x="16192" y="59531"/>
                      <a:pt x="16478" y="59627"/>
                      <a:pt x="16859" y="59627"/>
                    </a:cubicBezTo>
                    <a:lnTo>
                      <a:pt x="30861" y="59627"/>
                    </a:lnTo>
                    <a:cubicBezTo>
                      <a:pt x="30861" y="59627"/>
                      <a:pt x="31528" y="59531"/>
                      <a:pt x="31623" y="59531"/>
                    </a:cubicBezTo>
                    <a:cubicBezTo>
                      <a:pt x="33338" y="58769"/>
                      <a:pt x="38290" y="54102"/>
                      <a:pt x="38290" y="52483"/>
                    </a:cubicBezTo>
                    <a:lnTo>
                      <a:pt x="38290" y="0"/>
                    </a:lnTo>
                    <a:lnTo>
                      <a:pt x="47530" y="0"/>
                    </a:lnTo>
                    <a:lnTo>
                      <a:pt x="47530" y="52673"/>
                    </a:lnTo>
                    <a:cubicBezTo>
                      <a:pt x="47530" y="54769"/>
                      <a:pt x="47244" y="56769"/>
                      <a:pt x="45910" y="58579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8" name="Freihandform: Form 207">
                <a:extLst>
                  <a:ext uri="{FF2B5EF4-FFF2-40B4-BE49-F238E27FC236}">
                    <a16:creationId xmlns:a16="http://schemas.microsoft.com/office/drawing/2014/main" id="{71A9B590-865C-44AE-9323-8D4142DC3B84}"/>
                  </a:ext>
                </a:extLst>
              </p:cNvPr>
              <p:cNvSpPr/>
              <p:nvPr/>
            </p:nvSpPr>
            <p:spPr>
              <a:xfrm>
                <a:off x="9465906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8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4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0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956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8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0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0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956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9" name="Freihandform: Form 208">
                <a:extLst>
                  <a:ext uri="{FF2B5EF4-FFF2-40B4-BE49-F238E27FC236}">
                    <a16:creationId xmlns:a16="http://schemas.microsoft.com/office/drawing/2014/main" id="{6C86EEC8-3A2C-4400-8AEB-67D7229D5C01}"/>
                  </a:ext>
                </a:extLst>
              </p:cNvPr>
              <p:cNvSpPr/>
              <p:nvPr/>
            </p:nvSpPr>
            <p:spPr>
              <a:xfrm>
                <a:off x="9524866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6 w 9715"/>
                  <a:gd name="connsiteY1" fmla="*/ 0 h 68484"/>
                  <a:gd name="connsiteX2" fmla="*/ 9716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5 w 9715"/>
                  <a:gd name="connsiteY6" fmla="*/ 19717 h 68484"/>
                  <a:gd name="connsiteX7" fmla="*/ 9335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6" y="0"/>
                    </a:lnTo>
                    <a:lnTo>
                      <a:pt x="9716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5" y="19717"/>
                    </a:lnTo>
                    <a:lnTo>
                      <a:pt x="9335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0" name="Freihandform: Form 209">
                <a:extLst>
                  <a:ext uri="{FF2B5EF4-FFF2-40B4-BE49-F238E27FC236}">
                    <a16:creationId xmlns:a16="http://schemas.microsoft.com/office/drawing/2014/main" id="{AFD03FBD-20D3-4644-AA13-CBE3B4543888}"/>
                  </a:ext>
                </a:extLst>
              </p:cNvPr>
              <p:cNvSpPr/>
              <p:nvPr/>
            </p:nvSpPr>
            <p:spPr>
              <a:xfrm>
                <a:off x="9546869" y="5458461"/>
                <a:ext cx="44195" cy="48863"/>
              </a:xfrm>
              <a:custGeom>
                <a:avLst/>
                <a:gdLst>
                  <a:gd name="connsiteX0" fmla="*/ 27527 w 44195"/>
                  <a:gd name="connsiteY0" fmla="*/ 48863 h 48863"/>
                  <a:gd name="connsiteX1" fmla="*/ 16954 w 44195"/>
                  <a:gd name="connsiteY1" fmla="*/ 48863 h 48863"/>
                  <a:gd name="connsiteX2" fmla="*/ 0 w 44195"/>
                  <a:gd name="connsiteY2" fmla="*/ 0 h 48863"/>
                  <a:gd name="connsiteX3" fmla="*/ 9430 w 44195"/>
                  <a:gd name="connsiteY3" fmla="*/ 0 h 48863"/>
                  <a:gd name="connsiteX4" fmla="*/ 22098 w 44195"/>
                  <a:gd name="connsiteY4" fmla="*/ 38386 h 48863"/>
                  <a:gd name="connsiteX5" fmla="*/ 34861 w 44195"/>
                  <a:gd name="connsiteY5" fmla="*/ 0 h 48863"/>
                  <a:gd name="connsiteX6" fmla="*/ 44196 w 44195"/>
                  <a:gd name="connsiteY6" fmla="*/ 0 h 48863"/>
                  <a:gd name="connsiteX7" fmla="*/ 27527 w 44195"/>
                  <a:gd name="connsiteY7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195" h="48863">
                    <a:moveTo>
                      <a:pt x="27527" y="48863"/>
                    </a:moveTo>
                    <a:lnTo>
                      <a:pt x="16954" y="48863"/>
                    </a:lnTo>
                    <a:lnTo>
                      <a:pt x="0" y="0"/>
                    </a:lnTo>
                    <a:lnTo>
                      <a:pt x="9430" y="0"/>
                    </a:lnTo>
                    <a:lnTo>
                      <a:pt x="22098" y="38386"/>
                    </a:lnTo>
                    <a:lnTo>
                      <a:pt x="34861" y="0"/>
                    </a:lnTo>
                    <a:lnTo>
                      <a:pt x="44196" y="0"/>
                    </a:lnTo>
                    <a:lnTo>
                      <a:pt x="27527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1" name="Freihandform: Form 210">
                <a:extLst>
                  <a:ext uri="{FF2B5EF4-FFF2-40B4-BE49-F238E27FC236}">
                    <a16:creationId xmlns:a16="http://schemas.microsoft.com/office/drawing/2014/main" id="{AF054904-CE12-49BC-9A3C-AE1B38CADEC0}"/>
                  </a:ext>
                </a:extLst>
              </p:cNvPr>
              <p:cNvSpPr/>
              <p:nvPr/>
            </p:nvSpPr>
            <p:spPr>
              <a:xfrm>
                <a:off x="9601923" y="5457889"/>
                <a:ext cx="41814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5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334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1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1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4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242" y="0"/>
                      <a:pt x="32290" y="762"/>
                      <a:pt x="34290" y="2286"/>
                    </a:cubicBezTo>
                    <a:cubicBezTo>
                      <a:pt x="36004" y="3524"/>
                      <a:pt x="38767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2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5" y="13144"/>
                    </a:cubicBezTo>
                    <a:cubicBezTo>
                      <a:pt x="31623" y="11525"/>
                      <a:pt x="29337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3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2" name="Freihandform: Form 211">
                <a:extLst>
                  <a:ext uri="{FF2B5EF4-FFF2-40B4-BE49-F238E27FC236}">
                    <a16:creationId xmlns:a16="http://schemas.microsoft.com/office/drawing/2014/main" id="{DE451DDE-FF33-4059-B7A6-265FBD843EDD}"/>
                  </a:ext>
                </a:extLst>
              </p:cNvPr>
              <p:cNvSpPr/>
              <p:nvPr/>
            </p:nvSpPr>
            <p:spPr>
              <a:xfrm>
                <a:off x="9659740" y="5457889"/>
                <a:ext cx="39814" cy="49339"/>
              </a:xfrm>
              <a:custGeom>
                <a:avLst/>
                <a:gdLst>
                  <a:gd name="connsiteX0" fmla="*/ 31432 w 39814"/>
                  <a:gd name="connsiteY0" fmla="*/ 14383 h 49339"/>
                  <a:gd name="connsiteX1" fmla="*/ 24670 w 39814"/>
                  <a:gd name="connsiteY1" fmla="*/ 8287 h 49339"/>
                  <a:gd name="connsiteX2" fmla="*/ 18574 w 39814"/>
                  <a:gd name="connsiteY2" fmla="*/ 8287 h 49339"/>
                  <a:gd name="connsiteX3" fmla="*/ 9620 w 39814"/>
                  <a:gd name="connsiteY3" fmla="*/ 14383 h 49339"/>
                  <a:gd name="connsiteX4" fmla="*/ 9620 w 39814"/>
                  <a:gd name="connsiteY4" fmla="*/ 49340 h 49339"/>
                  <a:gd name="connsiteX5" fmla="*/ 762 w 39814"/>
                  <a:gd name="connsiteY5" fmla="*/ 49340 h 49339"/>
                  <a:gd name="connsiteX6" fmla="*/ 762 w 39814"/>
                  <a:gd name="connsiteY6" fmla="*/ 9620 h 49339"/>
                  <a:gd name="connsiteX7" fmla="*/ 0 w 39814"/>
                  <a:gd name="connsiteY7" fmla="*/ 571 h 49339"/>
                  <a:gd name="connsiteX8" fmla="*/ 8858 w 39814"/>
                  <a:gd name="connsiteY8" fmla="*/ 571 h 49339"/>
                  <a:gd name="connsiteX9" fmla="*/ 9334 w 39814"/>
                  <a:gd name="connsiteY9" fmla="*/ 4572 h 49339"/>
                  <a:gd name="connsiteX10" fmla="*/ 18288 w 39814"/>
                  <a:gd name="connsiteY10" fmla="*/ 0 h 49339"/>
                  <a:gd name="connsiteX11" fmla="*/ 24479 w 39814"/>
                  <a:gd name="connsiteY11" fmla="*/ 0 h 49339"/>
                  <a:gd name="connsiteX12" fmla="*/ 32194 w 39814"/>
                  <a:gd name="connsiteY12" fmla="*/ 2286 h 49339"/>
                  <a:gd name="connsiteX13" fmla="*/ 39815 w 39814"/>
                  <a:gd name="connsiteY13" fmla="*/ 11811 h 49339"/>
                  <a:gd name="connsiteX14" fmla="*/ 31528 w 39814"/>
                  <a:gd name="connsiteY14" fmla="*/ 14383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814" h="49339">
                    <a:moveTo>
                      <a:pt x="31432" y="14383"/>
                    </a:moveTo>
                    <a:cubicBezTo>
                      <a:pt x="30194" y="12002"/>
                      <a:pt x="27337" y="8287"/>
                      <a:pt x="24670" y="8287"/>
                    </a:cubicBezTo>
                    <a:lnTo>
                      <a:pt x="18574" y="8287"/>
                    </a:lnTo>
                    <a:cubicBezTo>
                      <a:pt x="16192" y="8287"/>
                      <a:pt x="10763" y="12668"/>
                      <a:pt x="9620" y="14383"/>
                    </a:cubicBezTo>
                    <a:lnTo>
                      <a:pt x="9620" y="49340"/>
                    </a:lnTo>
                    <a:lnTo>
                      <a:pt x="762" y="49340"/>
                    </a:lnTo>
                    <a:lnTo>
                      <a:pt x="76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1" y="2381"/>
                      <a:pt x="14954" y="0"/>
                      <a:pt x="18288" y="0"/>
                    </a:cubicBezTo>
                    <a:lnTo>
                      <a:pt x="24479" y="0"/>
                    </a:lnTo>
                    <a:cubicBezTo>
                      <a:pt x="27242" y="0"/>
                      <a:pt x="30099" y="762"/>
                      <a:pt x="32194" y="2286"/>
                    </a:cubicBezTo>
                    <a:cubicBezTo>
                      <a:pt x="34766" y="4096"/>
                      <a:pt x="38386" y="8477"/>
                      <a:pt x="39815" y="11811"/>
                    </a:cubicBezTo>
                    <a:lnTo>
                      <a:pt x="31528" y="14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3" name="Freihandform: Form 212">
                <a:extLst>
                  <a:ext uri="{FF2B5EF4-FFF2-40B4-BE49-F238E27FC236}">
                    <a16:creationId xmlns:a16="http://schemas.microsoft.com/office/drawing/2014/main" id="{927EE41A-7709-46E8-927B-B885BE4BEED1}"/>
                  </a:ext>
                </a:extLst>
              </p:cNvPr>
              <p:cNvSpPr/>
              <p:nvPr/>
            </p:nvSpPr>
            <p:spPr>
              <a:xfrm>
                <a:off x="9703364" y="5457889"/>
                <a:ext cx="43910" cy="49815"/>
              </a:xfrm>
              <a:custGeom>
                <a:avLst/>
                <a:gdLst>
                  <a:gd name="connsiteX0" fmla="*/ 35147 w 43910"/>
                  <a:gd name="connsiteY0" fmla="*/ 14573 h 49815"/>
                  <a:gd name="connsiteX1" fmla="*/ 28480 w 43910"/>
                  <a:gd name="connsiteY1" fmla="*/ 8382 h 49815"/>
                  <a:gd name="connsiteX2" fmla="*/ 16383 w 43910"/>
                  <a:gd name="connsiteY2" fmla="*/ 8382 h 49815"/>
                  <a:gd name="connsiteX3" fmla="*/ 15050 w 43910"/>
                  <a:gd name="connsiteY3" fmla="*/ 8572 h 49815"/>
                  <a:gd name="connsiteX4" fmla="*/ 10763 w 43910"/>
                  <a:gd name="connsiteY4" fmla="*/ 12859 h 49815"/>
                  <a:gd name="connsiteX5" fmla="*/ 10668 w 43910"/>
                  <a:gd name="connsiteY5" fmla="*/ 14097 h 49815"/>
                  <a:gd name="connsiteX6" fmla="*/ 10668 w 43910"/>
                  <a:gd name="connsiteY6" fmla="*/ 17240 h 49815"/>
                  <a:gd name="connsiteX7" fmla="*/ 13621 w 43910"/>
                  <a:gd name="connsiteY7" fmla="*/ 19812 h 49815"/>
                  <a:gd name="connsiteX8" fmla="*/ 32385 w 43910"/>
                  <a:gd name="connsiteY8" fmla="*/ 21145 h 49815"/>
                  <a:gd name="connsiteX9" fmla="*/ 43625 w 43910"/>
                  <a:gd name="connsiteY9" fmla="*/ 32194 h 49815"/>
                  <a:gd name="connsiteX10" fmla="*/ 43625 w 43910"/>
                  <a:gd name="connsiteY10" fmla="*/ 36004 h 49815"/>
                  <a:gd name="connsiteX11" fmla="*/ 41624 w 43910"/>
                  <a:gd name="connsiteY11" fmla="*/ 42481 h 49815"/>
                  <a:gd name="connsiteX12" fmla="*/ 36671 w 43910"/>
                  <a:gd name="connsiteY12" fmla="*/ 47530 h 49815"/>
                  <a:gd name="connsiteX13" fmla="*/ 28956 w 43910"/>
                  <a:gd name="connsiteY13" fmla="*/ 49816 h 49815"/>
                  <a:gd name="connsiteX14" fmla="*/ 15431 w 43910"/>
                  <a:gd name="connsiteY14" fmla="*/ 49816 h 49815"/>
                  <a:gd name="connsiteX15" fmla="*/ 7715 w 43910"/>
                  <a:gd name="connsiteY15" fmla="*/ 47530 h 49815"/>
                  <a:gd name="connsiteX16" fmla="*/ 0 w 43910"/>
                  <a:gd name="connsiteY16" fmla="*/ 38100 h 49815"/>
                  <a:gd name="connsiteX17" fmla="*/ 8477 w 43910"/>
                  <a:gd name="connsiteY17" fmla="*/ 35242 h 49815"/>
                  <a:gd name="connsiteX18" fmla="*/ 13811 w 43910"/>
                  <a:gd name="connsiteY18" fmla="*/ 41243 h 49815"/>
                  <a:gd name="connsiteX19" fmla="*/ 15145 w 43910"/>
                  <a:gd name="connsiteY19" fmla="*/ 41434 h 49815"/>
                  <a:gd name="connsiteX20" fmla="*/ 28861 w 43910"/>
                  <a:gd name="connsiteY20" fmla="*/ 41434 h 49815"/>
                  <a:gd name="connsiteX21" fmla="*/ 34671 w 43910"/>
                  <a:gd name="connsiteY21" fmla="*/ 36957 h 49815"/>
                  <a:gd name="connsiteX22" fmla="*/ 34862 w 43910"/>
                  <a:gd name="connsiteY22" fmla="*/ 35719 h 49815"/>
                  <a:gd name="connsiteX23" fmla="*/ 34862 w 43910"/>
                  <a:gd name="connsiteY23" fmla="*/ 31909 h 49815"/>
                  <a:gd name="connsiteX24" fmla="*/ 31813 w 43910"/>
                  <a:gd name="connsiteY24" fmla="*/ 29337 h 49815"/>
                  <a:gd name="connsiteX25" fmla="*/ 13049 w 43910"/>
                  <a:gd name="connsiteY25" fmla="*/ 28099 h 49815"/>
                  <a:gd name="connsiteX26" fmla="*/ 2000 w 43910"/>
                  <a:gd name="connsiteY26" fmla="*/ 17050 h 49815"/>
                  <a:gd name="connsiteX27" fmla="*/ 2000 w 43910"/>
                  <a:gd name="connsiteY27" fmla="*/ 13811 h 49815"/>
                  <a:gd name="connsiteX28" fmla="*/ 3905 w 43910"/>
                  <a:gd name="connsiteY28" fmla="*/ 7334 h 49815"/>
                  <a:gd name="connsiteX29" fmla="*/ 8858 w 43910"/>
                  <a:gd name="connsiteY29" fmla="*/ 2286 h 49815"/>
                  <a:gd name="connsiteX30" fmla="*/ 16574 w 43910"/>
                  <a:gd name="connsiteY30" fmla="*/ 0 h 49815"/>
                  <a:gd name="connsiteX31" fmla="*/ 28385 w 43910"/>
                  <a:gd name="connsiteY31" fmla="*/ 0 h 49815"/>
                  <a:gd name="connsiteX32" fmla="*/ 36100 w 43910"/>
                  <a:gd name="connsiteY32" fmla="*/ 2286 h 49815"/>
                  <a:gd name="connsiteX33" fmla="*/ 43910 w 43910"/>
                  <a:gd name="connsiteY33" fmla="*/ 11716 h 49815"/>
                  <a:gd name="connsiteX34" fmla="*/ 35433 w 43910"/>
                  <a:gd name="connsiteY34" fmla="*/ 14573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3910" h="49815">
                    <a:moveTo>
                      <a:pt x="35147" y="14573"/>
                    </a:moveTo>
                    <a:cubicBezTo>
                      <a:pt x="33814" y="12097"/>
                      <a:pt x="30861" y="8382"/>
                      <a:pt x="28480" y="8382"/>
                    </a:cubicBezTo>
                    <a:lnTo>
                      <a:pt x="16383" y="8382"/>
                    </a:lnTo>
                    <a:cubicBezTo>
                      <a:pt x="15812" y="8382"/>
                      <a:pt x="15240" y="8477"/>
                      <a:pt x="15050" y="8572"/>
                    </a:cubicBezTo>
                    <a:cubicBezTo>
                      <a:pt x="13525" y="9334"/>
                      <a:pt x="11716" y="11240"/>
                      <a:pt x="10763" y="12859"/>
                    </a:cubicBezTo>
                    <a:cubicBezTo>
                      <a:pt x="10668" y="12954"/>
                      <a:pt x="10668" y="13430"/>
                      <a:pt x="10668" y="14097"/>
                    </a:cubicBezTo>
                    <a:lnTo>
                      <a:pt x="10668" y="17240"/>
                    </a:lnTo>
                    <a:cubicBezTo>
                      <a:pt x="10668" y="18478"/>
                      <a:pt x="11811" y="19717"/>
                      <a:pt x="13621" y="19812"/>
                    </a:cubicBezTo>
                    <a:lnTo>
                      <a:pt x="32385" y="21145"/>
                    </a:lnTo>
                    <a:cubicBezTo>
                      <a:pt x="38481" y="21622"/>
                      <a:pt x="43625" y="26194"/>
                      <a:pt x="43625" y="32194"/>
                    </a:cubicBezTo>
                    <a:lnTo>
                      <a:pt x="43625" y="36004"/>
                    </a:lnTo>
                    <a:cubicBezTo>
                      <a:pt x="43625" y="38386"/>
                      <a:pt x="42958" y="40577"/>
                      <a:pt x="41624" y="42481"/>
                    </a:cubicBezTo>
                    <a:cubicBezTo>
                      <a:pt x="40672" y="43815"/>
                      <a:pt x="38291" y="46482"/>
                      <a:pt x="36671" y="47530"/>
                    </a:cubicBezTo>
                    <a:cubicBezTo>
                      <a:pt x="34481" y="48958"/>
                      <a:pt x="31718" y="49816"/>
                      <a:pt x="28956" y="49816"/>
                    </a:cubicBezTo>
                    <a:lnTo>
                      <a:pt x="15431" y="49816"/>
                    </a:lnTo>
                    <a:cubicBezTo>
                      <a:pt x="12668" y="49816"/>
                      <a:pt x="9906" y="49054"/>
                      <a:pt x="7715" y="47530"/>
                    </a:cubicBezTo>
                    <a:cubicBezTo>
                      <a:pt x="5144" y="45720"/>
                      <a:pt x="1810" y="41624"/>
                      <a:pt x="0" y="38100"/>
                    </a:cubicBezTo>
                    <a:lnTo>
                      <a:pt x="8477" y="35242"/>
                    </a:lnTo>
                    <a:cubicBezTo>
                      <a:pt x="9716" y="37719"/>
                      <a:pt x="11811" y="40195"/>
                      <a:pt x="13811" y="41243"/>
                    </a:cubicBezTo>
                    <a:cubicBezTo>
                      <a:pt x="14002" y="41339"/>
                      <a:pt x="14573" y="41434"/>
                      <a:pt x="15145" y="41434"/>
                    </a:cubicBezTo>
                    <a:lnTo>
                      <a:pt x="28861" y="41434"/>
                    </a:lnTo>
                    <a:cubicBezTo>
                      <a:pt x="30861" y="41434"/>
                      <a:pt x="33623" y="38576"/>
                      <a:pt x="34671" y="36957"/>
                    </a:cubicBezTo>
                    <a:cubicBezTo>
                      <a:pt x="34766" y="36862"/>
                      <a:pt x="34862" y="36385"/>
                      <a:pt x="34862" y="35719"/>
                    </a:cubicBezTo>
                    <a:lnTo>
                      <a:pt x="34862" y="31909"/>
                    </a:lnTo>
                    <a:cubicBezTo>
                      <a:pt x="34862" y="30670"/>
                      <a:pt x="33623" y="29432"/>
                      <a:pt x="31813" y="29337"/>
                    </a:cubicBezTo>
                    <a:lnTo>
                      <a:pt x="13049" y="28099"/>
                    </a:lnTo>
                    <a:cubicBezTo>
                      <a:pt x="6953" y="27622"/>
                      <a:pt x="2000" y="23051"/>
                      <a:pt x="2000" y="17050"/>
                    </a:cubicBezTo>
                    <a:lnTo>
                      <a:pt x="2000" y="13811"/>
                    </a:lnTo>
                    <a:cubicBezTo>
                      <a:pt x="2000" y="11430"/>
                      <a:pt x="2572" y="9239"/>
                      <a:pt x="3905" y="7334"/>
                    </a:cubicBezTo>
                    <a:cubicBezTo>
                      <a:pt x="4858" y="6001"/>
                      <a:pt x="7144" y="3334"/>
                      <a:pt x="8858" y="2286"/>
                    </a:cubicBezTo>
                    <a:cubicBezTo>
                      <a:pt x="11049" y="857"/>
                      <a:pt x="13811" y="0"/>
                      <a:pt x="16574" y="0"/>
                    </a:cubicBezTo>
                    <a:lnTo>
                      <a:pt x="28385" y="0"/>
                    </a:lnTo>
                    <a:cubicBezTo>
                      <a:pt x="31147" y="0"/>
                      <a:pt x="33909" y="762"/>
                      <a:pt x="36100" y="2286"/>
                    </a:cubicBezTo>
                    <a:cubicBezTo>
                      <a:pt x="38862" y="4191"/>
                      <a:pt x="42005" y="8096"/>
                      <a:pt x="43910" y="11716"/>
                    </a:cubicBezTo>
                    <a:lnTo>
                      <a:pt x="35433" y="1457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4" name="Freihandform: Form 213">
                <a:extLst>
                  <a:ext uri="{FF2B5EF4-FFF2-40B4-BE49-F238E27FC236}">
                    <a16:creationId xmlns:a16="http://schemas.microsoft.com/office/drawing/2014/main" id="{0616A08B-ADBB-49B0-8508-CB4F656F418F}"/>
                  </a:ext>
                </a:extLst>
              </p:cNvPr>
              <p:cNvSpPr/>
              <p:nvPr/>
            </p:nvSpPr>
            <p:spPr>
              <a:xfrm>
                <a:off x="9762991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5" name="Freihandform: Form 214">
                <a:extLst>
                  <a:ext uri="{FF2B5EF4-FFF2-40B4-BE49-F238E27FC236}">
                    <a16:creationId xmlns:a16="http://schemas.microsoft.com/office/drawing/2014/main" id="{69918116-BBCB-4D41-AF1F-0990E79ED78B}"/>
                  </a:ext>
                </a:extLst>
              </p:cNvPr>
              <p:cNvSpPr/>
              <p:nvPr/>
            </p:nvSpPr>
            <p:spPr>
              <a:xfrm>
                <a:off x="9785184" y="5439315"/>
                <a:ext cx="31813" cy="67913"/>
              </a:xfrm>
              <a:custGeom>
                <a:avLst/>
                <a:gdLst>
                  <a:gd name="connsiteX0" fmla="*/ 16859 w 31813"/>
                  <a:gd name="connsiteY0" fmla="*/ 27432 h 67913"/>
                  <a:gd name="connsiteX1" fmla="*/ 16859 w 31813"/>
                  <a:gd name="connsiteY1" fmla="*/ 53340 h 67913"/>
                  <a:gd name="connsiteX2" fmla="*/ 17050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859" y="27432"/>
                    </a:moveTo>
                    <a:lnTo>
                      <a:pt x="16859" y="53340"/>
                    </a:lnTo>
                    <a:cubicBezTo>
                      <a:pt x="16859" y="54102"/>
                      <a:pt x="16955" y="54673"/>
                      <a:pt x="17050" y="54769"/>
                    </a:cubicBezTo>
                    <a:cubicBezTo>
                      <a:pt x="18002" y="56388"/>
                      <a:pt x="20003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288" y="67913"/>
                      <a:pt x="17336" y="67151"/>
                      <a:pt x="15335" y="65627"/>
                    </a:cubicBezTo>
                    <a:cubicBezTo>
                      <a:pt x="13621" y="64389"/>
                      <a:pt x="10763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6" name="Freihandform: Form 215">
                <a:extLst>
                  <a:ext uri="{FF2B5EF4-FFF2-40B4-BE49-F238E27FC236}">
                    <a16:creationId xmlns:a16="http://schemas.microsoft.com/office/drawing/2014/main" id="{1EF02065-7DB6-4277-A159-1318F6394D20}"/>
                  </a:ext>
                </a:extLst>
              </p:cNvPr>
              <p:cNvSpPr/>
              <p:nvPr/>
            </p:nvSpPr>
            <p:spPr>
              <a:xfrm>
                <a:off x="9825570" y="5458556"/>
                <a:ext cx="43910" cy="68294"/>
              </a:xfrm>
              <a:custGeom>
                <a:avLst/>
                <a:gdLst>
                  <a:gd name="connsiteX0" fmla="*/ 21526 w 43910"/>
                  <a:gd name="connsiteY0" fmla="*/ 68294 h 68294"/>
                  <a:gd name="connsiteX1" fmla="*/ 11906 w 43910"/>
                  <a:gd name="connsiteY1" fmla="*/ 68294 h 68294"/>
                  <a:gd name="connsiteX2" fmla="*/ 18479 w 43910"/>
                  <a:gd name="connsiteY2" fmla="*/ 48768 h 68294"/>
                  <a:gd name="connsiteX3" fmla="*/ 16764 w 43910"/>
                  <a:gd name="connsiteY3" fmla="*/ 48768 h 68294"/>
                  <a:gd name="connsiteX4" fmla="*/ 0 w 43910"/>
                  <a:gd name="connsiteY4" fmla="*/ 0 h 68294"/>
                  <a:gd name="connsiteX5" fmla="*/ 9525 w 43910"/>
                  <a:gd name="connsiteY5" fmla="*/ 0 h 68294"/>
                  <a:gd name="connsiteX6" fmla="*/ 22193 w 43910"/>
                  <a:gd name="connsiteY6" fmla="*/ 37909 h 68294"/>
                  <a:gd name="connsiteX7" fmla="*/ 34862 w 43910"/>
                  <a:gd name="connsiteY7" fmla="*/ 0 h 68294"/>
                  <a:gd name="connsiteX8" fmla="*/ 43910 w 43910"/>
                  <a:gd name="connsiteY8" fmla="*/ 0 h 68294"/>
                  <a:gd name="connsiteX9" fmla="*/ 21526 w 43910"/>
                  <a:gd name="connsiteY9" fmla="*/ 68294 h 6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910" h="68294">
                    <a:moveTo>
                      <a:pt x="21526" y="68294"/>
                    </a:moveTo>
                    <a:lnTo>
                      <a:pt x="11906" y="68294"/>
                    </a:lnTo>
                    <a:lnTo>
                      <a:pt x="18479" y="48768"/>
                    </a:lnTo>
                    <a:lnTo>
                      <a:pt x="16764" y="48768"/>
                    </a:lnTo>
                    <a:lnTo>
                      <a:pt x="0" y="0"/>
                    </a:lnTo>
                    <a:lnTo>
                      <a:pt x="9525" y="0"/>
                    </a:lnTo>
                    <a:lnTo>
                      <a:pt x="22193" y="37909"/>
                    </a:lnTo>
                    <a:lnTo>
                      <a:pt x="34862" y="0"/>
                    </a:lnTo>
                    <a:lnTo>
                      <a:pt x="43910" y="0"/>
                    </a:lnTo>
                    <a:lnTo>
                      <a:pt x="21526" y="6829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ACA41C0A-943B-40F1-888A-EBF3AD7A482A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3024948" y="639638"/>
              <a:ext cx="1582728" cy="685686"/>
              <a:chOff x="6935751" y="735654"/>
              <a:chExt cx="2189701" cy="894016"/>
            </a:xfrm>
          </p:grpSpPr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841A3D42-8E63-4844-B63A-046FEF09DDD6}"/>
                  </a:ext>
                </a:extLst>
              </p:cNvPr>
              <p:cNvSpPr/>
              <p:nvPr/>
            </p:nvSpPr>
            <p:spPr>
              <a:xfrm>
                <a:off x="7675557" y="746702"/>
                <a:ext cx="394716" cy="604456"/>
              </a:xfrm>
              <a:custGeom>
                <a:avLst/>
                <a:gdLst>
                  <a:gd name="connsiteX0" fmla="*/ 95 w 394716"/>
                  <a:gd name="connsiteY0" fmla="*/ 0 h 604456"/>
                  <a:gd name="connsiteX1" fmla="*/ 384524 w 394716"/>
                  <a:gd name="connsiteY1" fmla="*/ 0 h 604456"/>
                  <a:gd name="connsiteX2" fmla="*/ 384524 w 394716"/>
                  <a:gd name="connsiteY2" fmla="*/ 98965 h 604456"/>
                  <a:gd name="connsiteX3" fmla="*/ 111728 w 394716"/>
                  <a:gd name="connsiteY3" fmla="*/ 98965 h 604456"/>
                  <a:gd name="connsiteX4" fmla="*/ 111728 w 394716"/>
                  <a:gd name="connsiteY4" fmla="*/ 250698 h 604456"/>
                  <a:gd name="connsiteX5" fmla="*/ 335947 w 394716"/>
                  <a:gd name="connsiteY5" fmla="*/ 250698 h 604456"/>
                  <a:gd name="connsiteX6" fmla="*/ 335947 w 394716"/>
                  <a:gd name="connsiteY6" fmla="*/ 348710 h 604456"/>
                  <a:gd name="connsiteX7" fmla="*/ 111728 w 394716"/>
                  <a:gd name="connsiteY7" fmla="*/ 348710 h 604456"/>
                  <a:gd name="connsiteX8" fmla="*/ 111728 w 394716"/>
                  <a:gd name="connsiteY8" fmla="*/ 505587 h 604456"/>
                  <a:gd name="connsiteX9" fmla="*/ 394716 w 394716"/>
                  <a:gd name="connsiteY9" fmla="*/ 505587 h 604456"/>
                  <a:gd name="connsiteX10" fmla="*/ 394716 w 394716"/>
                  <a:gd name="connsiteY10" fmla="*/ 604457 h 604456"/>
                  <a:gd name="connsiteX11" fmla="*/ 0 w 394716"/>
                  <a:gd name="connsiteY11" fmla="*/ 604457 h 604456"/>
                  <a:gd name="connsiteX12" fmla="*/ 0 w 394716"/>
                  <a:gd name="connsiteY12" fmla="*/ 0 h 60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716" h="604456">
                    <a:moveTo>
                      <a:pt x="95" y="0"/>
                    </a:moveTo>
                    <a:lnTo>
                      <a:pt x="384524" y="0"/>
                    </a:lnTo>
                    <a:lnTo>
                      <a:pt x="384524" y="98965"/>
                    </a:lnTo>
                    <a:lnTo>
                      <a:pt x="111728" y="98965"/>
                    </a:lnTo>
                    <a:lnTo>
                      <a:pt x="111728" y="250698"/>
                    </a:lnTo>
                    <a:lnTo>
                      <a:pt x="335947" y="250698"/>
                    </a:lnTo>
                    <a:lnTo>
                      <a:pt x="335947" y="348710"/>
                    </a:lnTo>
                    <a:lnTo>
                      <a:pt x="111728" y="348710"/>
                    </a:lnTo>
                    <a:lnTo>
                      <a:pt x="111728" y="505587"/>
                    </a:lnTo>
                    <a:lnTo>
                      <a:pt x="394716" y="505587"/>
                    </a:lnTo>
                    <a:lnTo>
                      <a:pt x="394716" y="604457"/>
                    </a:lnTo>
                    <a:lnTo>
                      <a:pt x="0" y="604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918C71B9-BCB5-4A42-BBAA-D6FB5A45E85C}"/>
                  </a:ext>
                </a:extLst>
              </p:cNvPr>
              <p:cNvSpPr/>
              <p:nvPr/>
            </p:nvSpPr>
            <p:spPr>
              <a:xfrm>
                <a:off x="8177144" y="735654"/>
                <a:ext cx="399764" cy="624839"/>
              </a:xfrm>
              <a:custGeom>
                <a:avLst/>
                <a:gdLst>
                  <a:gd name="connsiteX0" fmla="*/ 365570 w 399764"/>
                  <a:gd name="connsiteY0" fmla="*/ 40100 h 624839"/>
                  <a:gd name="connsiteX1" fmla="*/ 365570 w 399764"/>
                  <a:gd name="connsiteY1" fmla="*/ 151733 h 624839"/>
                  <a:gd name="connsiteX2" fmla="*/ 214693 w 399764"/>
                  <a:gd name="connsiteY2" fmla="*/ 103156 h 624839"/>
                  <a:gd name="connsiteX3" fmla="*/ 116681 w 399764"/>
                  <a:gd name="connsiteY3" fmla="*/ 169640 h 624839"/>
                  <a:gd name="connsiteX4" fmla="*/ 222409 w 399764"/>
                  <a:gd name="connsiteY4" fmla="*/ 258318 h 624839"/>
                  <a:gd name="connsiteX5" fmla="*/ 399764 w 399764"/>
                  <a:gd name="connsiteY5" fmla="*/ 441579 h 624839"/>
                  <a:gd name="connsiteX6" fmla="*/ 179832 w 399764"/>
                  <a:gd name="connsiteY6" fmla="*/ 624840 h 624839"/>
                  <a:gd name="connsiteX7" fmla="*/ 0 w 399764"/>
                  <a:gd name="connsiteY7" fmla="*/ 573691 h 624839"/>
                  <a:gd name="connsiteX8" fmla="*/ 0 w 399764"/>
                  <a:gd name="connsiteY8" fmla="*/ 454343 h 624839"/>
                  <a:gd name="connsiteX9" fmla="*/ 173069 w 399764"/>
                  <a:gd name="connsiteY9" fmla="*/ 522542 h 624839"/>
                  <a:gd name="connsiteX10" fmla="*/ 280511 w 399764"/>
                  <a:gd name="connsiteY10" fmla="*/ 444913 h 624839"/>
                  <a:gd name="connsiteX11" fmla="*/ 160306 w 399764"/>
                  <a:gd name="connsiteY11" fmla="*/ 347758 h 624839"/>
                  <a:gd name="connsiteX12" fmla="*/ 857 w 399764"/>
                  <a:gd name="connsiteY12" fmla="*/ 174689 h 624839"/>
                  <a:gd name="connsiteX13" fmla="*/ 210407 w 399764"/>
                  <a:gd name="connsiteY13" fmla="*/ 0 h 624839"/>
                  <a:gd name="connsiteX14" fmla="*/ 365570 w 399764"/>
                  <a:gd name="connsiteY14" fmla="*/ 40100 h 624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9764" h="624839">
                    <a:moveTo>
                      <a:pt x="365570" y="40100"/>
                    </a:moveTo>
                    <a:lnTo>
                      <a:pt x="365570" y="151733"/>
                    </a:lnTo>
                    <a:cubicBezTo>
                      <a:pt x="323755" y="121920"/>
                      <a:pt x="265843" y="103156"/>
                      <a:pt x="214693" y="103156"/>
                    </a:cubicBezTo>
                    <a:cubicBezTo>
                      <a:pt x="158401" y="103156"/>
                      <a:pt x="116681" y="126206"/>
                      <a:pt x="116681" y="169640"/>
                    </a:cubicBezTo>
                    <a:cubicBezTo>
                      <a:pt x="116681" y="209741"/>
                      <a:pt x="151638" y="229362"/>
                      <a:pt x="222409" y="258318"/>
                    </a:cubicBezTo>
                    <a:cubicBezTo>
                      <a:pt x="309372" y="293275"/>
                      <a:pt x="399764" y="330803"/>
                      <a:pt x="399764" y="441579"/>
                    </a:cubicBezTo>
                    <a:cubicBezTo>
                      <a:pt x="399764" y="552355"/>
                      <a:pt x="311944" y="624840"/>
                      <a:pt x="179832" y="624840"/>
                    </a:cubicBezTo>
                    <a:cubicBezTo>
                      <a:pt x="107347" y="624840"/>
                      <a:pt x="41720" y="603504"/>
                      <a:pt x="0" y="573691"/>
                    </a:cubicBezTo>
                    <a:lnTo>
                      <a:pt x="0" y="454343"/>
                    </a:lnTo>
                    <a:cubicBezTo>
                      <a:pt x="44291" y="492728"/>
                      <a:pt x="108299" y="522542"/>
                      <a:pt x="173069" y="522542"/>
                    </a:cubicBezTo>
                    <a:cubicBezTo>
                      <a:pt x="234410" y="522542"/>
                      <a:pt x="280511" y="493586"/>
                      <a:pt x="280511" y="444913"/>
                    </a:cubicBezTo>
                    <a:cubicBezTo>
                      <a:pt x="280511" y="399764"/>
                      <a:pt x="236220" y="379286"/>
                      <a:pt x="160306" y="347758"/>
                    </a:cubicBezTo>
                    <a:cubicBezTo>
                      <a:pt x="86106" y="317087"/>
                      <a:pt x="857" y="278702"/>
                      <a:pt x="857" y="174689"/>
                    </a:cubicBezTo>
                    <a:cubicBezTo>
                      <a:pt x="857" y="70676"/>
                      <a:pt x="84201" y="0"/>
                      <a:pt x="210407" y="0"/>
                    </a:cubicBezTo>
                    <a:cubicBezTo>
                      <a:pt x="270891" y="0"/>
                      <a:pt x="325469" y="16193"/>
                      <a:pt x="365570" y="4010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6F7E64B6-ADA2-487A-969E-898B4D79E47E}"/>
                  </a:ext>
                </a:extLst>
              </p:cNvPr>
              <p:cNvSpPr/>
              <p:nvPr/>
            </p:nvSpPr>
            <p:spPr>
              <a:xfrm>
                <a:off x="8688160" y="746702"/>
                <a:ext cx="437292" cy="604361"/>
              </a:xfrm>
              <a:custGeom>
                <a:avLst/>
                <a:gdLst>
                  <a:gd name="connsiteX0" fmla="*/ 0 w 437292"/>
                  <a:gd name="connsiteY0" fmla="*/ 0 h 604361"/>
                  <a:gd name="connsiteX1" fmla="*/ 217361 w 437292"/>
                  <a:gd name="connsiteY1" fmla="*/ 0 h 604361"/>
                  <a:gd name="connsiteX2" fmla="*/ 407480 w 437292"/>
                  <a:gd name="connsiteY2" fmla="*/ 161925 h 604361"/>
                  <a:gd name="connsiteX3" fmla="*/ 327374 w 437292"/>
                  <a:gd name="connsiteY3" fmla="*/ 293180 h 604361"/>
                  <a:gd name="connsiteX4" fmla="*/ 437293 w 437292"/>
                  <a:gd name="connsiteY4" fmla="*/ 436436 h 604361"/>
                  <a:gd name="connsiteX5" fmla="*/ 234410 w 437292"/>
                  <a:gd name="connsiteY5" fmla="*/ 604361 h 604361"/>
                  <a:gd name="connsiteX6" fmla="*/ 0 w 437292"/>
                  <a:gd name="connsiteY6" fmla="*/ 604361 h 604361"/>
                  <a:gd name="connsiteX7" fmla="*/ 0 w 437292"/>
                  <a:gd name="connsiteY7" fmla="*/ 0 h 604361"/>
                  <a:gd name="connsiteX8" fmla="*/ 210598 w 437292"/>
                  <a:gd name="connsiteY8" fmla="*/ 252317 h 604361"/>
                  <a:gd name="connsiteX9" fmla="*/ 292417 w 437292"/>
                  <a:gd name="connsiteY9" fmla="*/ 172212 h 604361"/>
                  <a:gd name="connsiteX10" fmla="*/ 208026 w 437292"/>
                  <a:gd name="connsiteY10" fmla="*/ 98012 h 604361"/>
                  <a:gd name="connsiteX11" fmla="*/ 111728 w 437292"/>
                  <a:gd name="connsiteY11" fmla="*/ 98012 h 604361"/>
                  <a:gd name="connsiteX12" fmla="*/ 111728 w 437292"/>
                  <a:gd name="connsiteY12" fmla="*/ 252413 h 604361"/>
                  <a:gd name="connsiteX13" fmla="*/ 210598 w 437292"/>
                  <a:gd name="connsiteY13" fmla="*/ 252413 h 604361"/>
                  <a:gd name="connsiteX14" fmla="*/ 231934 w 437292"/>
                  <a:gd name="connsiteY14" fmla="*/ 505492 h 604361"/>
                  <a:gd name="connsiteX15" fmla="*/ 320612 w 437292"/>
                  <a:gd name="connsiteY15" fmla="*/ 422815 h 604361"/>
                  <a:gd name="connsiteX16" fmla="*/ 225171 w 437292"/>
                  <a:gd name="connsiteY16" fmla="*/ 342710 h 604361"/>
                  <a:gd name="connsiteX17" fmla="*/ 111824 w 437292"/>
                  <a:gd name="connsiteY17" fmla="*/ 342710 h 604361"/>
                  <a:gd name="connsiteX18" fmla="*/ 111824 w 437292"/>
                  <a:gd name="connsiteY18" fmla="*/ 505492 h 604361"/>
                  <a:gd name="connsiteX19" fmla="*/ 232029 w 437292"/>
                  <a:gd name="connsiteY19" fmla="*/ 505492 h 604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7292" h="604361">
                    <a:moveTo>
                      <a:pt x="0" y="0"/>
                    </a:moveTo>
                    <a:lnTo>
                      <a:pt x="217361" y="0"/>
                    </a:lnTo>
                    <a:cubicBezTo>
                      <a:pt x="330708" y="0"/>
                      <a:pt x="407480" y="63056"/>
                      <a:pt x="407480" y="161925"/>
                    </a:cubicBezTo>
                    <a:cubicBezTo>
                      <a:pt x="407480" y="226695"/>
                      <a:pt x="369094" y="273558"/>
                      <a:pt x="327374" y="293180"/>
                    </a:cubicBezTo>
                    <a:cubicBezTo>
                      <a:pt x="379381" y="305943"/>
                      <a:pt x="437293" y="357092"/>
                      <a:pt x="437293" y="436436"/>
                    </a:cubicBezTo>
                    <a:cubicBezTo>
                      <a:pt x="437293" y="537877"/>
                      <a:pt x="355473" y="604361"/>
                      <a:pt x="234410" y="604361"/>
                    </a:cubicBezTo>
                    <a:lnTo>
                      <a:pt x="0" y="604361"/>
                    </a:lnTo>
                    <a:lnTo>
                      <a:pt x="0" y="0"/>
                    </a:lnTo>
                    <a:close/>
                    <a:moveTo>
                      <a:pt x="210598" y="252317"/>
                    </a:moveTo>
                    <a:cubicBezTo>
                      <a:pt x="264319" y="252317"/>
                      <a:pt x="292417" y="215646"/>
                      <a:pt x="292417" y="172212"/>
                    </a:cubicBezTo>
                    <a:cubicBezTo>
                      <a:pt x="292417" y="132112"/>
                      <a:pt x="260890" y="98012"/>
                      <a:pt x="208026" y="98012"/>
                    </a:cubicBezTo>
                    <a:lnTo>
                      <a:pt x="111728" y="98012"/>
                    </a:lnTo>
                    <a:lnTo>
                      <a:pt x="111728" y="252413"/>
                    </a:lnTo>
                    <a:lnTo>
                      <a:pt x="210598" y="252413"/>
                    </a:lnTo>
                    <a:close/>
                    <a:moveTo>
                      <a:pt x="231934" y="505492"/>
                    </a:moveTo>
                    <a:cubicBezTo>
                      <a:pt x="283940" y="505492"/>
                      <a:pt x="320612" y="469678"/>
                      <a:pt x="320612" y="422815"/>
                    </a:cubicBezTo>
                    <a:cubicBezTo>
                      <a:pt x="320612" y="375952"/>
                      <a:pt x="279654" y="342710"/>
                      <a:pt x="225171" y="342710"/>
                    </a:cubicBezTo>
                    <a:lnTo>
                      <a:pt x="111824" y="342710"/>
                    </a:lnTo>
                    <a:lnTo>
                      <a:pt x="111824" y="505492"/>
                    </a:lnTo>
                    <a:lnTo>
                      <a:pt x="232029" y="50549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E1F9CD89-AA81-44D9-BBFD-0C484CA54F55}"/>
                  </a:ext>
                </a:extLst>
              </p:cNvPr>
              <p:cNvSpPr/>
              <p:nvPr/>
            </p:nvSpPr>
            <p:spPr>
              <a:xfrm>
                <a:off x="6935751" y="1489176"/>
                <a:ext cx="99917" cy="138017"/>
              </a:xfrm>
              <a:custGeom>
                <a:avLst/>
                <a:gdLst>
                  <a:gd name="connsiteX0" fmla="*/ 0 w 99917"/>
                  <a:gd name="connsiteY0" fmla="*/ 95 h 138017"/>
                  <a:gd name="connsiteX1" fmla="*/ 49625 w 99917"/>
                  <a:gd name="connsiteY1" fmla="*/ 95 h 138017"/>
                  <a:gd name="connsiteX2" fmla="*/ 93059 w 99917"/>
                  <a:gd name="connsiteY2" fmla="*/ 37052 h 138017"/>
                  <a:gd name="connsiteX3" fmla="*/ 74771 w 99917"/>
                  <a:gd name="connsiteY3" fmla="*/ 67056 h 138017"/>
                  <a:gd name="connsiteX4" fmla="*/ 99917 w 99917"/>
                  <a:gd name="connsiteY4" fmla="*/ 99727 h 138017"/>
                  <a:gd name="connsiteX5" fmla="*/ 53626 w 99917"/>
                  <a:gd name="connsiteY5" fmla="*/ 138017 h 138017"/>
                  <a:gd name="connsiteX6" fmla="*/ 0 w 99917"/>
                  <a:gd name="connsiteY6" fmla="*/ 138017 h 138017"/>
                  <a:gd name="connsiteX7" fmla="*/ 0 w 99917"/>
                  <a:gd name="connsiteY7" fmla="*/ 0 h 138017"/>
                  <a:gd name="connsiteX8" fmla="*/ 48101 w 99917"/>
                  <a:gd name="connsiteY8" fmla="*/ 57721 h 138017"/>
                  <a:gd name="connsiteX9" fmla="*/ 66770 w 99917"/>
                  <a:gd name="connsiteY9" fmla="*/ 39433 h 138017"/>
                  <a:gd name="connsiteX10" fmla="*/ 47530 w 99917"/>
                  <a:gd name="connsiteY10" fmla="*/ 22479 h 138017"/>
                  <a:gd name="connsiteX11" fmla="*/ 25527 w 99917"/>
                  <a:gd name="connsiteY11" fmla="*/ 22479 h 138017"/>
                  <a:gd name="connsiteX12" fmla="*/ 25527 w 99917"/>
                  <a:gd name="connsiteY12" fmla="*/ 57721 h 138017"/>
                  <a:gd name="connsiteX13" fmla="*/ 48101 w 99917"/>
                  <a:gd name="connsiteY13" fmla="*/ 57721 h 138017"/>
                  <a:gd name="connsiteX14" fmla="*/ 52959 w 99917"/>
                  <a:gd name="connsiteY14" fmla="*/ 115538 h 138017"/>
                  <a:gd name="connsiteX15" fmla="*/ 73247 w 99917"/>
                  <a:gd name="connsiteY15" fmla="*/ 96679 h 138017"/>
                  <a:gd name="connsiteX16" fmla="*/ 51435 w 99917"/>
                  <a:gd name="connsiteY16" fmla="*/ 78391 h 138017"/>
                  <a:gd name="connsiteX17" fmla="*/ 25527 w 99917"/>
                  <a:gd name="connsiteY17" fmla="*/ 78391 h 138017"/>
                  <a:gd name="connsiteX18" fmla="*/ 25527 w 99917"/>
                  <a:gd name="connsiteY18" fmla="*/ 115538 h 138017"/>
                  <a:gd name="connsiteX19" fmla="*/ 52959 w 99917"/>
                  <a:gd name="connsiteY19" fmla="*/ 115538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9917" h="138017">
                    <a:moveTo>
                      <a:pt x="0" y="95"/>
                    </a:moveTo>
                    <a:lnTo>
                      <a:pt x="49625" y="95"/>
                    </a:lnTo>
                    <a:cubicBezTo>
                      <a:pt x="75533" y="95"/>
                      <a:pt x="93059" y="14478"/>
                      <a:pt x="93059" y="37052"/>
                    </a:cubicBezTo>
                    <a:cubicBezTo>
                      <a:pt x="93059" y="51816"/>
                      <a:pt x="84296" y="62579"/>
                      <a:pt x="74771" y="67056"/>
                    </a:cubicBezTo>
                    <a:cubicBezTo>
                      <a:pt x="86678" y="70009"/>
                      <a:pt x="99917" y="81629"/>
                      <a:pt x="99917" y="99727"/>
                    </a:cubicBezTo>
                    <a:cubicBezTo>
                      <a:pt x="99917" y="122873"/>
                      <a:pt x="81248" y="138017"/>
                      <a:pt x="53626" y="138017"/>
                    </a:cubicBezTo>
                    <a:lnTo>
                      <a:pt x="0" y="138017"/>
                    </a:lnTo>
                    <a:lnTo>
                      <a:pt x="0" y="0"/>
                    </a:lnTo>
                    <a:close/>
                    <a:moveTo>
                      <a:pt x="48101" y="57721"/>
                    </a:moveTo>
                    <a:cubicBezTo>
                      <a:pt x="60389" y="57721"/>
                      <a:pt x="66770" y="49340"/>
                      <a:pt x="66770" y="39433"/>
                    </a:cubicBezTo>
                    <a:cubicBezTo>
                      <a:pt x="66770" y="30290"/>
                      <a:pt x="59531" y="22479"/>
                      <a:pt x="47530" y="22479"/>
                    </a:cubicBezTo>
                    <a:lnTo>
                      <a:pt x="25527" y="22479"/>
                    </a:lnTo>
                    <a:lnTo>
                      <a:pt x="25527" y="57721"/>
                    </a:lnTo>
                    <a:lnTo>
                      <a:pt x="48101" y="57721"/>
                    </a:lnTo>
                    <a:close/>
                    <a:moveTo>
                      <a:pt x="52959" y="115538"/>
                    </a:moveTo>
                    <a:cubicBezTo>
                      <a:pt x="64865" y="115538"/>
                      <a:pt x="73247" y="107347"/>
                      <a:pt x="73247" y="96679"/>
                    </a:cubicBezTo>
                    <a:cubicBezTo>
                      <a:pt x="73247" y="86011"/>
                      <a:pt x="63913" y="78391"/>
                      <a:pt x="51435" y="78391"/>
                    </a:cubicBezTo>
                    <a:lnTo>
                      <a:pt x="25527" y="78391"/>
                    </a:lnTo>
                    <a:lnTo>
                      <a:pt x="25527" y="115538"/>
                    </a:lnTo>
                    <a:lnTo>
                      <a:pt x="52959" y="11553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F1204EB7-7AA1-4DBE-9C70-06C8B9A8C174}"/>
                  </a:ext>
                </a:extLst>
              </p:cNvPr>
              <p:cNvSpPr/>
              <p:nvPr/>
            </p:nvSpPr>
            <p:spPr>
              <a:xfrm>
                <a:off x="7090151" y="1489176"/>
                <a:ext cx="111061" cy="140493"/>
              </a:xfrm>
              <a:custGeom>
                <a:avLst/>
                <a:gdLst>
                  <a:gd name="connsiteX0" fmla="*/ 110871 w 111061"/>
                  <a:gd name="connsiteY0" fmla="*/ 86773 h 140493"/>
                  <a:gd name="connsiteX1" fmla="*/ 55436 w 111061"/>
                  <a:gd name="connsiteY1" fmla="*/ 140494 h 140493"/>
                  <a:gd name="connsiteX2" fmla="*/ 0 w 111061"/>
                  <a:gd name="connsiteY2" fmla="*/ 86773 h 140493"/>
                  <a:gd name="connsiteX3" fmla="*/ 0 w 111061"/>
                  <a:gd name="connsiteY3" fmla="*/ 0 h 140493"/>
                  <a:gd name="connsiteX4" fmla="*/ 25718 w 111061"/>
                  <a:gd name="connsiteY4" fmla="*/ 0 h 140493"/>
                  <a:gd name="connsiteX5" fmla="*/ 25718 w 111061"/>
                  <a:gd name="connsiteY5" fmla="*/ 85058 h 140493"/>
                  <a:gd name="connsiteX6" fmla="*/ 55531 w 111061"/>
                  <a:gd name="connsiteY6" fmla="*/ 116205 h 140493"/>
                  <a:gd name="connsiteX7" fmla="*/ 85344 w 111061"/>
                  <a:gd name="connsiteY7" fmla="*/ 85058 h 140493"/>
                  <a:gd name="connsiteX8" fmla="*/ 85344 w 111061"/>
                  <a:gd name="connsiteY8" fmla="*/ 0 h 140493"/>
                  <a:gd name="connsiteX9" fmla="*/ 111062 w 111061"/>
                  <a:gd name="connsiteY9" fmla="*/ 0 h 140493"/>
                  <a:gd name="connsiteX10" fmla="*/ 111062 w 111061"/>
                  <a:gd name="connsiteY10" fmla="*/ 86773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1061" h="140493">
                    <a:moveTo>
                      <a:pt x="110871" y="86773"/>
                    </a:moveTo>
                    <a:cubicBezTo>
                      <a:pt x="110871" y="116777"/>
                      <a:pt x="87916" y="140494"/>
                      <a:pt x="55436" y="140494"/>
                    </a:cubicBezTo>
                    <a:cubicBezTo>
                      <a:pt x="22955" y="140494"/>
                      <a:pt x="0" y="116777"/>
                      <a:pt x="0" y="86773"/>
                    </a:cubicBezTo>
                    <a:lnTo>
                      <a:pt x="0" y="0"/>
                    </a:lnTo>
                    <a:lnTo>
                      <a:pt x="25718" y="0"/>
                    </a:lnTo>
                    <a:lnTo>
                      <a:pt x="25718" y="85058"/>
                    </a:lnTo>
                    <a:cubicBezTo>
                      <a:pt x="25718" y="102584"/>
                      <a:pt x="37624" y="116205"/>
                      <a:pt x="55531" y="116205"/>
                    </a:cubicBezTo>
                    <a:cubicBezTo>
                      <a:pt x="73438" y="116205"/>
                      <a:pt x="85344" y="102584"/>
                      <a:pt x="85344" y="85058"/>
                    </a:cubicBezTo>
                    <a:lnTo>
                      <a:pt x="85344" y="0"/>
                    </a:lnTo>
                    <a:lnTo>
                      <a:pt x="111062" y="0"/>
                    </a:lnTo>
                    <a:lnTo>
                      <a:pt x="111062" y="86773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27237826-5449-478B-9F2B-159890723308}"/>
                  </a:ext>
                </a:extLst>
              </p:cNvPr>
              <p:cNvSpPr/>
              <p:nvPr/>
            </p:nvSpPr>
            <p:spPr>
              <a:xfrm>
                <a:off x="7257600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49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49" y="75724"/>
                      <a:pt x="91249" y="100965"/>
                    </a:cubicBezTo>
                    <a:cubicBezTo>
                      <a:pt x="91249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0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1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7C86E521-7D29-43D8-8432-53564D806680}"/>
                  </a:ext>
                </a:extLst>
              </p:cNvPr>
              <p:cNvSpPr/>
              <p:nvPr/>
            </p:nvSpPr>
            <p:spPr>
              <a:xfrm>
                <a:off x="7404476" y="1489081"/>
                <a:ext cx="25717" cy="138207"/>
              </a:xfrm>
              <a:custGeom>
                <a:avLst/>
                <a:gdLst>
                  <a:gd name="connsiteX0" fmla="*/ 0 w 25717"/>
                  <a:gd name="connsiteY0" fmla="*/ 0 h 138207"/>
                  <a:gd name="connsiteX1" fmla="*/ 25718 w 25717"/>
                  <a:gd name="connsiteY1" fmla="*/ 0 h 138207"/>
                  <a:gd name="connsiteX2" fmla="*/ 25718 w 25717"/>
                  <a:gd name="connsiteY2" fmla="*/ 138208 h 138207"/>
                  <a:gd name="connsiteX3" fmla="*/ 0 w 25717"/>
                  <a:gd name="connsiteY3" fmla="*/ 138208 h 138207"/>
                  <a:gd name="connsiteX4" fmla="*/ 0 w 25717"/>
                  <a:gd name="connsiteY4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7" h="138207">
                    <a:moveTo>
                      <a:pt x="0" y="0"/>
                    </a:moveTo>
                    <a:lnTo>
                      <a:pt x="25718" y="0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73D7A86D-EA54-41BB-B188-694F081AA1CF}"/>
                  </a:ext>
                </a:extLst>
              </p:cNvPr>
              <p:cNvSpPr/>
              <p:nvPr/>
            </p:nvSpPr>
            <p:spPr>
              <a:xfrm>
                <a:off x="7494582" y="1489081"/>
                <a:ext cx="116205" cy="138207"/>
              </a:xfrm>
              <a:custGeom>
                <a:avLst/>
                <a:gdLst>
                  <a:gd name="connsiteX0" fmla="*/ 116205 w 116205"/>
                  <a:gd name="connsiteY0" fmla="*/ 0 h 138207"/>
                  <a:gd name="connsiteX1" fmla="*/ 116205 w 116205"/>
                  <a:gd name="connsiteY1" fmla="*/ 138208 h 138207"/>
                  <a:gd name="connsiteX2" fmla="*/ 94393 w 116205"/>
                  <a:gd name="connsiteY2" fmla="*/ 138208 h 138207"/>
                  <a:gd name="connsiteX3" fmla="*/ 25718 w 116205"/>
                  <a:gd name="connsiteY3" fmla="*/ 44768 h 138207"/>
                  <a:gd name="connsiteX4" fmla="*/ 25718 w 116205"/>
                  <a:gd name="connsiteY4" fmla="*/ 138208 h 138207"/>
                  <a:gd name="connsiteX5" fmla="*/ 0 w 116205"/>
                  <a:gd name="connsiteY5" fmla="*/ 138208 h 138207"/>
                  <a:gd name="connsiteX6" fmla="*/ 0 w 116205"/>
                  <a:gd name="connsiteY6" fmla="*/ 0 h 138207"/>
                  <a:gd name="connsiteX7" fmla="*/ 22003 w 116205"/>
                  <a:gd name="connsiteY7" fmla="*/ 0 h 138207"/>
                  <a:gd name="connsiteX8" fmla="*/ 90678 w 116205"/>
                  <a:gd name="connsiteY8" fmla="*/ 93440 h 138207"/>
                  <a:gd name="connsiteX9" fmla="*/ 90678 w 116205"/>
                  <a:gd name="connsiteY9" fmla="*/ 0 h 138207"/>
                  <a:gd name="connsiteX10" fmla="*/ 116205 w 116205"/>
                  <a:gd name="connsiteY10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205" h="138207">
                    <a:moveTo>
                      <a:pt x="116205" y="0"/>
                    </a:moveTo>
                    <a:lnTo>
                      <a:pt x="116205" y="138208"/>
                    </a:lnTo>
                    <a:lnTo>
                      <a:pt x="94393" y="138208"/>
                    </a:lnTo>
                    <a:lnTo>
                      <a:pt x="25718" y="44768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lnTo>
                      <a:pt x="22003" y="0"/>
                    </a:lnTo>
                    <a:lnTo>
                      <a:pt x="90678" y="93440"/>
                    </a:lnTo>
                    <a:lnTo>
                      <a:pt x="90678" y="0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CB8BA174-A3D2-4E93-A8D8-264B0D4DFBE7}"/>
                  </a:ext>
                </a:extLst>
              </p:cNvPr>
              <p:cNvSpPr/>
              <p:nvPr/>
            </p:nvSpPr>
            <p:spPr>
              <a:xfrm>
                <a:off x="7675271" y="1489272"/>
                <a:ext cx="90106" cy="138017"/>
              </a:xfrm>
              <a:custGeom>
                <a:avLst/>
                <a:gdLst>
                  <a:gd name="connsiteX0" fmla="*/ 95 w 90106"/>
                  <a:gd name="connsiteY0" fmla="*/ 0 h 138017"/>
                  <a:gd name="connsiteX1" fmla="*/ 87821 w 90106"/>
                  <a:gd name="connsiteY1" fmla="*/ 0 h 138017"/>
                  <a:gd name="connsiteX2" fmla="*/ 87821 w 90106"/>
                  <a:gd name="connsiteY2" fmla="*/ 22574 h 138017"/>
                  <a:gd name="connsiteX3" fmla="*/ 25527 w 90106"/>
                  <a:gd name="connsiteY3" fmla="*/ 22574 h 138017"/>
                  <a:gd name="connsiteX4" fmla="*/ 25527 w 90106"/>
                  <a:gd name="connsiteY4" fmla="*/ 57245 h 138017"/>
                  <a:gd name="connsiteX5" fmla="*/ 76676 w 90106"/>
                  <a:gd name="connsiteY5" fmla="*/ 57245 h 138017"/>
                  <a:gd name="connsiteX6" fmla="*/ 76676 w 90106"/>
                  <a:gd name="connsiteY6" fmla="*/ 79629 h 138017"/>
                  <a:gd name="connsiteX7" fmla="*/ 25527 w 90106"/>
                  <a:gd name="connsiteY7" fmla="*/ 79629 h 138017"/>
                  <a:gd name="connsiteX8" fmla="*/ 25527 w 90106"/>
                  <a:gd name="connsiteY8" fmla="*/ 115443 h 138017"/>
                  <a:gd name="connsiteX9" fmla="*/ 90106 w 90106"/>
                  <a:gd name="connsiteY9" fmla="*/ 115443 h 138017"/>
                  <a:gd name="connsiteX10" fmla="*/ 90106 w 90106"/>
                  <a:gd name="connsiteY10" fmla="*/ 138017 h 138017"/>
                  <a:gd name="connsiteX11" fmla="*/ 0 w 90106"/>
                  <a:gd name="connsiteY11" fmla="*/ 138017 h 138017"/>
                  <a:gd name="connsiteX12" fmla="*/ 0 w 90106"/>
                  <a:gd name="connsiteY12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0106" h="138017">
                    <a:moveTo>
                      <a:pt x="95" y="0"/>
                    </a:moveTo>
                    <a:lnTo>
                      <a:pt x="87821" y="0"/>
                    </a:lnTo>
                    <a:lnTo>
                      <a:pt x="87821" y="22574"/>
                    </a:lnTo>
                    <a:lnTo>
                      <a:pt x="25527" y="22574"/>
                    </a:lnTo>
                    <a:lnTo>
                      <a:pt x="25527" y="57245"/>
                    </a:lnTo>
                    <a:lnTo>
                      <a:pt x="76676" y="57245"/>
                    </a:lnTo>
                    <a:lnTo>
                      <a:pt x="76676" y="79629"/>
                    </a:lnTo>
                    <a:lnTo>
                      <a:pt x="25527" y="79629"/>
                    </a:lnTo>
                    <a:lnTo>
                      <a:pt x="25527" y="115443"/>
                    </a:lnTo>
                    <a:lnTo>
                      <a:pt x="90106" y="115443"/>
                    </a:lnTo>
                    <a:lnTo>
                      <a:pt x="90106" y="138017"/>
                    </a:lnTo>
                    <a:lnTo>
                      <a:pt x="0" y="1380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7EB4D8DB-2735-4A68-9C1A-73940A525FF1}"/>
                  </a:ext>
                </a:extLst>
              </p:cNvPr>
              <p:cNvSpPr/>
              <p:nvPr/>
            </p:nvSpPr>
            <p:spPr>
              <a:xfrm>
                <a:off x="7815289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5851D121-218C-4264-84A1-5A63F0DBC2F4}"/>
                  </a:ext>
                </a:extLst>
              </p:cNvPr>
              <p:cNvSpPr/>
              <p:nvPr/>
            </p:nvSpPr>
            <p:spPr>
              <a:xfrm>
                <a:off x="7955973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0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1" y="86678"/>
                      <a:pt x="36576" y="79439"/>
                    </a:cubicBezTo>
                    <a:cubicBezTo>
                      <a:pt x="19621" y="72390"/>
                      <a:pt x="190" y="63722"/>
                      <a:pt x="190" y="39910"/>
                    </a:cubicBezTo>
                    <a:cubicBezTo>
                      <a:pt x="190" y="16097"/>
                      <a:pt x="19240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FF28A465-9AF6-467E-B467-EE532D5C418F}"/>
                  </a:ext>
                </a:extLst>
              </p:cNvPr>
              <p:cNvSpPr/>
              <p:nvPr/>
            </p:nvSpPr>
            <p:spPr>
              <a:xfrm>
                <a:off x="8174096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BD005A96-E2B7-4244-8843-2BF83B7EC536}"/>
                  </a:ext>
                </a:extLst>
              </p:cNvPr>
              <p:cNvSpPr/>
              <p:nvPr/>
            </p:nvSpPr>
            <p:spPr>
              <a:xfrm>
                <a:off x="8312494" y="1486700"/>
                <a:ext cx="109156" cy="142875"/>
              </a:xfrm>
              <a:custGeom>
                <a:avLst/>
                <a:gdLst>
                  <a:gd name="connsiteX0" fmla="*/ 108966 w 109156"/>
                  <a:gd name="connsiteY0" fmla="*/ 132207 h 142875"/>
                  <a:gd name="connsiteX1" fmla="*/ 70866 w 109156"/>
                  <a:gd name="connsiteY1" fmla="*/ 142875 h 142875"/>
                  <a:gd name="connsiteX2" fmla="*/ 0 w 109156"/>
                  <a:gd name="connsiteY2" fmla="*/ 71819 h 142875"/>
                  <a:gd name="connsiteX3" fmla="*/ 70676 w 109156"/>
                  <a:gd name="connsiteY3" fmla="*/ 0 h 142875"/>
                  <a:gd name="connsiteX4" fmla="*/ 106871 w 109156"/>
                  <a:gd name="connsiteY4" fmla="*/ 8763 h 142875"/>
                  <a:gd name="connsiteX5" fmla="*/ 106871 w 109156"/>
                  <a:gd name="connsiteY5" fmla="*/ 35052 h 142875"/>
                  <a:gd name="connsiteX6" fmla="*/ 73247 w 109156"/>
                  <a:gd name="connsiteY6" fmla="*/ 24575 h 142875"/>
                  <a:gd name="connsiteX7" fmla="*/ 26575 w 109156"/>
                  <a:gd name="connsiteY7" fmla="*/ 71438 h 142875"/>
                  <a:gd name="connsiteX8" fmla="*/ 74105 w 109156"/>
                  <a:gd name="connsiteY8" fmla="*/ 118110 h 142875"/>
                  <a:gd name="connsiteX9" fmla="*/ 109157 w 109156"/>
                  <a:gd name="connsiteY9" fmla="*/ 105823 h 142875"/>
                  <a:gd name="connsiteX10" fmla="*/ 109157 w 109156"/>
                  <a:gd name="connsiteY10" fmla="*/ 132112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56" h="142875">
                    <a:moveTo>
                      <a:pt x="108966" y="132207"/>
                    </a:moveTo>
                    <a:cubicBezTo>
                      <a:pt x="100203" y="138779"/>
                      <a:pt x="86011" y="142875"/>
                      <a:pt x="70866" y="142875"/>
                    </a:cubicBezTo>
                    <a:cubicBezTo>
                      <a:pt x="30766" y="142875"/>
                      <a:pt x="0" y="112490"/>
                      <a:pt x="0" y="71819"/>
                    </a:cubicBezTo>
                    <a:cubicBezTo>
                      <a:pt x="0" y="31147"/>
                      <a:pt x="31147" y="0"/>
                      <a:pt x="70676" y="0"/>
                    </a:cubicBezTo>
                    <a:cubicBezTo>
                      <a:pt x="84296" y="0"/>
                      <a:pt x="96583" y="2953"/>
                      <a:pt x="106871" y="8763"/>
                    </a:cubicBezTo>
                    <a:lnTo>
                      <a:pt x="106871" y="35052"/>
                    </a:lnTo>
                    <a:cubicBezTo>
                      <a:pt x="96774" y="28289"/>
                      <a:pt x="84868" y="24575"/>
                      <a:pt x="73247" y="24575"/>
                    </a:cubicBezTo>
                    <a:cubicBezTo>
                      <a:pt x="46196" y="24575"/>
                      <a:pt x="26575" y="44387"/>
                      <a:pt x="26575" y="71438"/>
                    </a:cubicBezTo>
                    <a:cubicBezTo>
                      <a:pt x="26575" y="100870"/>
                      <a:pt x="48197" y="118110"/>
                      <a:pt x="74105" y="118110"/>
                    </a:cubicBezTo>
                    <a:cubicBezTo>
                      <a:pt x="86201" y="118110"/>
                      <a:pt x="98774" y="113824"/>
                      <a:pt x="109157" y="105823"/>
                    </a:cubicBezTo>
                    <a:lnTo>
                      <a:pt x="109157" y="13211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9B8531F9-BC44-4488-9BE8-A0A38546E8F7}"/>
                  </a:ext>
                </a:extLst>
              </p:cNvPr>
              <p:cNvSpPr/>
              <p:nvPr/>
            </p:nvSpPr>
            <p:spPr>
              <a:xfrm>
                <a:off x="8477086" y="1489081"/>
                <a:ext cx="114680" cy="138207"/>
              </a:xfrm>
              <a:custGeom>
                <a:avLst/>
                <a:gdLst>
                  <a:gd name="connsiteX0" fmla="*/ 0 w 114680"/>
                  <a:gd name="connsiteY0" fmla="*/ 0 h 138207"/>
                  <a:gd name="connsiteX1" fmla="*/ 25717 w 114680"/>
                  <a:gd name="connsiteY1" fmla="*/ 0 h 138207"/>
                  <a:gd name="connsiteX2" fmla="*/ 25717 w 114680"/>
                  <a:gd name="connsiteY2" fmla="*/ 57055 h 138207"/>
                  <a:gd name="connsiteX3" fmla="*/ 88963 w 114680"/>
                  <a:gd name="connsiteY3" fmla="*/ 57055 h 138207"/>
                  <a:gd name="connsiteX4" fmla="*/ 88963 w 114680"/>
                  <a:gd name="connsiteY4" fmla="*/ 0 h 138207"/>
                  <a:gd name="connsiteX5" fmla="*/ 114681 w 114680"/>
                  <a:gd name="connsiteY5" fmla="*/ 0 h 138207"/>
                  <a:gd name="connsiteX6" fmla="*/ 114681 w 114680"/>
                  <a:gd name="connsiteY6" fmla="*/ 138208 h 138207"/>
                  <a:gd name="connsiteX7" fmla="*/ 88963 w 114680"/>
                  <a:gd name="connsiteY7" fmla="*/ 138208 h 138207"/>
                  <a:gd name="connsiteX8" fmla="*/ 88963 w 114680"/>
                  <a:gd name="connsiteY8" fmla="*/ 79820 h 138207"/>
                  <a:gd name="connsiteX9" fmla="*/ 25717 w 114680"/>
                  <a:gd name="connsiteY9" fmla="*/ 79820 h 138207"/>
                  <a:gd name="connsiteX10" fmla="*/ 25717 w 114680"/>
                  <a:gd name="connsiteY10" fmla="*/ 138208 h 138207"/>
                  <a:gd name="connsiteX11" fmla="*/ 0 w 114680"/>
                  <a:gd name="connsiteY11" fmla="*/ 138208 h 138207"/>
                  <a:gd name="connsiteX12" fmla="*/ 0 w 114680"/>
                  <a:gd name="connsiteY12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680" h="138207">
                    <a:moveTo>
                      <a:pt x="0" y="0"/>
                    </a:moveTo>
                    <a:lnTo>
                      <a:pt x="25717" y="0"/>
                    </a:lnTo>
                    <a:lnTo>
                      <a:pt x="25717" y="57055"/>
                    </a:lnTo>
                    <a:lnTo>
                      <a:pt x="88963" y="57055"/>
                    </a:lnTo>
                    <a:lnTo>
                      <a:pt x="88963" y="0"/>
                    </a:lnTo>
                    <a:lnTo>
                      <a:pt x="114681" y="0"/>
                    </a:lnTo>
                    <a:lnTo>
                      <a:pt x="114681" y="138208"/>
                    </a:lnTo>
                    <a:lnTo>
                      <a:pt x="88963" y="138208"/>
                    </a:lnTo>
                    <a:lnTo>
                      <a:pt x="88963" y="79820"/>
                    </a:lnTo>
                    <a:lnTo>
                      <a:pt x="25717" y="79820"/>
                    </a:lnTo>
                    <a:lnTo>
                      <a:pt x="25717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9F284849-08D8-4CBA-BCEE-4BE66E4FC72A}"/>
                  </a:ext>
                </a:extLst>
              </p:cNvPr>
              <p:cNvSpPr/>
              <p:nvPr/>
            </p:nvSpPr>
            <p:spPr>
              <a:xfrm>
                <a:off x="8647774" y="1486795"/>
                <a:ext cx="143446" cy="142875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8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8 w 143446"/>
                  <a:gd name="connsiteY6" fmla="*/ 118300 h 142875"/>
                  <a:gd name="connsiteX7" fmla="*/ 116967 w 143446"/>
                  <a:gd name="connsiteY7" fmla="*/ 71438 h 142875"/>
                  <a:gd name="connsiteX8" fmla="*/ 71818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8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8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8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04763DE8-770A-4A1F-A9CF-F81BC78F322C}"/>
                  </a:ext>
                </a:extLst>
              </p:cNvPr>
              <p:cNvSpPr/>
              <p:nvPr/>
            </p:nvSpPr>
            <p:spPr>
              <a:xfrm>
                <a:off x="8838655" y="1486795"/>
                <a:ext cx="143446" cy="142875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9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9 w 143446"/>
                  <a:gd name="connsiteY6" fmla="*/ 118300 h 142875"/>
                  <a:gd name="connsiteX7" fmla="*/ 116967 w 143446"/>
                  <a:gd name="connsiteY7" fmla="*/ 71438 h 142875"/>
                  <a:gd name="connsiteX8" fmla="*/ 71819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9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9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9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150B8408-01AF-4B4B-A9A0-80D0C3BD5C00}"/>
                  </a:ext>
                </a:extLst>
              </p:cNvPr>
              <p:cNvSpPr/>
              <p:nvPr/>
            </p:nvSpPr>
            <p:spPr>
              <a:xfrm>
                <a:off x="9038109" y="1489176"/>
                <a:ext cx="82772" cy="138017"/>
              </a:xfrm>
              <a:custGeom>
                <a:avLst/>
                <a:gdLst>
                  <a:gd name="connsiteX0" fmla="*/ 0 w 82772"/>
                  <a:gd name="connsiteY0" fmla="*/ 95 h 138017"/>
                  <a:gd name="connsiteX1" fmla="*/ 25717 w 82772"/>
                  <a:gd name="connsiteY1" fmla="*/ 95 h 138017"/>
                  <a:gd name="connsiteX2" fmla="*/ 25717 w 82772"/>
                  <a:gd name="connsiteY2" fmla="*/ 115062 h 138017"/>
                  <a:gd name="connsiteX3" fmla="*/ 82772 w 82772"/>
                  <a:gd name="connsiteY3" fmla="*/ 115062 h 138017"/>
                  <a:gd name="connsiteX4" fmla="*/ 82772 w 82772"/>
                  <a:gd name="connsiteY4" fmla="*/ 138017 h 138017"/>
                  <a:gd name="connsiteX5" fmla="*/ 95 w 82772"/>
                  <a:gd name="connsiteY5" fmla="*/ 138017 h 138017"/>
                  <a:gd name="connsiteX6" fmla="*/ 95 w 82772"/>
                  <a:gd name="connsiteY6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772" h="138017">
                    <a:moveTo>
                      <a:pt x="0" y="95"/>
                    </a:moveTo>
                    <a:lnTo>
                      <a:pt x="25717" y="95"/>
                    </a:lnTo>
                    <a:lnTo>
                      <a:pt x="25717" y="115062"/>
                    </a:lnTo>
                    <a:lnTo>
                      <a:pt x="82772" y="115062"/>
                    </a:lnTo>
                    <a:lnTo>
                      <a:pt x="82772" y="138017"/>
                    </a:lnTo>
                    <a:lnTo>
                      <a:pt x="95" y="138017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5FDE7C38-E85B-4F41-A348-F1C328CA2BF7}"/>
                  </a:ext>
                </a:extLst>
              </p:cNvPr>
              <p:cNvSpPr/>
              <p:nvPr/>
            </p:nvSpPr>
            <p:spPr>
              <a:xfrm>
                <a:off x="6935751" y="746893"/>
                <a:ext cx="605313" cy="605313"/>
              </a:xfrm>
              <a:custGeom>
                <a:avLst/>
                <a:gdLst>
                  <a:gd name="connsiteX0" fmla="*/ 605314 w 605313"/>
                  <a:gd name="connsiteY0" fmla="*/ 10287 h 605313"/>
                  <a:gd name="connsiteX1" fmla="*/ 605314 w 605313"/>
                  <a:gd name="connsiteY1" fmla="*/ 0 h 605313"/>
                  <a:gd name="connsiteX2" fmla="*/ 0 w 605313"/>
                  <a:gd name="connsiteY2" fmla="*/ 0 h 605313"/>
                  <a:gd name="connsiteX3" fmla="*/ 0 w 605313"/>
                  <a:gd name="connsiteY3" fmla="*/ 605314 h 605313"/>
                  <a:gd name="connsiteX4" fmla="*/ 10287 w 605313"/>
                  <a:gd name="connsiteY4" fmla="*/ 605314 h 605313"/>
                  <a:gd name="connsiteX5" fmla="*/ 605314 w 605313"/>
                  <a:gd name="connsiteY5" fmla="*/ 10287 h 60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313" h="605313">
                    <a:moveTo>
                      <a:pt x="605314" y="10287"/>
                    </a:moveTo>
                    <a:lnTo>
                      <a:pt x="605314" y="0"/>
                    </a:lnTo>
                    <a:lnTo>
                      <a:pt x="0" y="0"/>
                    </a:lnTo>
                    <a:lnTo>
                      <a:pt x="0" y="605314"/>
                    </a:lnTo>
                    <a:lnTo>
                      <a:pt x="10287" y="605314"/>
                    </a:lnTo>
                    <a:cubicBezTo>
                      <a:pt x="10287" y="278702"/>
                      <a:pt x="230219" y="10287"/>
                      <a:pt x="605314" y="10287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CC0107FA-4FE8-471E-892D-491ABF015F7C}"/>
                  </a:ext>
                </a:extLst>
              </p:cNvPr>
              <p:cNvSpPr/>
              <p:nvPr/>
            </p:nvSpPr>
            <p:spPr>
              <a:xfrm>
                <a:off x="7047860" y="853763"/>
                <a:ext cx="493204" cy="498443"/>
              </a:xfrm>
              <a:custGeom>
                <a:avLst/>
                <a:gdLst>
                  <a:gd name="connsiteX0" fmla="*/ 493205 w 493204"/>
                  <a:gd name="connsiteY0" fmla="*/ 498443 h 498443"/>
                  <a:gd name="connsiteX1" fmla="*/ 493205 w 493204"/>
                  <a:gd name="connsiteY1" fmla="*/ 0 h 498443"/>
                  <a:gd name="connsiteX2" fmla="*/ 0 w 493204"/>
                  <a:gd name="connsiteY2" fmla="*/ 493205 h 498443"/>
                  <a:gd name="connsiteX3" fmla="*/ 95 w 493204"/>
                  <a:gd name="connsiteY3" fmla="*/ 498443 h 498443"/>
                  <a:gd name="connsiteX4" fmla="*/ 493205 w 493204"/>
                  <a:gd name="connsiteY4" fmla="*/ 498443 h 49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3204" h="498443">
                    <a:moveTo>
                      <a:pt x="493205" y="498443"/>
                    </a:moveTo>
                    <a:lnTo>
                      <a:pt x="493205" y="0"/>
                    </a:lnTo>
                    <a:cubicBezTo>
                      <a:pt x="220790" y="0"/>
                      <a:pt x="0" y="220790"/>
                      <a:pt x="0" y="493205"/>
                    </a:cubicBezTo>
                    <a:cubicBezTo>
                      <a:pt x="0" y="494919"/>
                      <a:pt x="95" y="496729"/>
                      <a:pt x="95" y="498443"/>
                    </a:cubicBezTo>
                    <a:lnTo>
                      <a:pt x="493205" y="498443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  <p:pic>
          <p:nvPicPr>
            <p:cNvPr id="152" name="Grafik 151">
              <a:extLst>
                <a:ext uri="{FF2B5EF4-FFF2-40B4-BE49-F238E27FC236}">
                  <a16:creationId xmlns:a16="http://schemas.microsoft.com/office/drawing/2014/main" id="{D3AB78E5-2722-4184-AEAC-23220E4A95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687" y="620826"/>
              <a:ext cx="1087530" cy="727190"/>
            </a:xfrm>
            <a:prstGeom prst="rect">
              <a:avLst/>
            </a:prstGeom>
          </p:spPr>
        </p:pic>
        <p:pic>
          <p:nvPicPr>
            <p:cNvPr id="153" name="Picture 5">
              <a:extLst>
                <a:ext uri="{FF2B5EF4-FFF2-40B4-BE49-F238E27FC236}">
                  <a16:creationId xmlns:a16="http://schemas.microsoft.com/office/drawing/2014/main" id="{D4ECB289-CEC3-47B3-B8B8-73F643A4AE1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1610" y="647004"/>
              <a:ext cx="716742" cy="726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00650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2" orient="horz" pos="1162">
          <p15:clr>
            <a:srgbClr val="FBAE40"/>
          </p15:clr>
        </p15:guide>
        <p15:guide id="3" pos="477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676C46F9-7004-4C75-9EC6-45F0A35D896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640003" y="6403738"/>
            <a:ext cx="898919" cy="361365"/>
            <a:chOff x="606051" y="96313"/>
            <a:chExt cx="1427002" cy="515695"/>
          </a:xfrm>
        </p:grpSpPr>
        <p:pic>
          <p:nvPicPr>
            <p:cNvPr id="78" name="Picture 5">
              <a:extLst>
                <a:ext uri="{FF2B5EF4-FFF2-40B4-BE49-F238E27FC236}">
                  <a16:creationId xmlns:a16="http://schemas.microsoft.com/office/drawing/2014/main" id="{9289A743-E2DE-4020-8931-07ECAFB860A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2906" y="113837"/>
              <a:ext cx="540147" cy="498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Grafik 78">
              <a:extLst>
                <a:ext uri="{FF2B5EF4-FFF2-40B4-BE49-F238E27FC236}">
                  <a16:creationId xmlns:a16="http://schemas.microsoft.com/office/drawing/2014/main" id="{794D4979-AED3-4EF8-B068-C6AAC59A5A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051" y="96313"/>
              <a:ext cx="878849" cy="509853"/>
            </a:xfrm>
            <a:prstGeom prst="rect">
              <a:avLst/>
            </a:prstGeom>
          </p:spPr>
        </p:pic>
      </p:grpSp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24DD280-E744-1FDC-9D67-18646555F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627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6" imgW="480" imgH="481" progId="TCLayout.ActiveDocument.1">
                  <p:embed/>
                </p:oleObj>
              </mc:Choice>
              <mc:Fallback>
                <p:oleObj name="think-cell Folie" r:id="rId6" imgW="480" imgH="48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24DD280-E744-1FDC-9D67-18646555F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901776-CFD1-97D1-1DBA-A4D063D942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620713"/>
            <a:ext cx="11017249" cy="344710"/>
          </a:xfrm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en-GB" noProof="0" dirty="0"/>
              <a:t>Title, Franklin Gothic Book, 28pt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B43216-5853-A7D6-AF5B-E35E61F24C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86D05-C121-4A60-9A22-18C5549D6ECB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C3E7E11B-AE18-3D85-E23F-DF84BF8513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6468805"/>
            <a:ext cx="7020000" cy="123111"/>
          </a:xfrm>
        </p:spPr>
        <p:txBody>
          <a:bodyPr wrap="square" anchor="b">
            <a:sp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000"/>
            </a:lvl1pPr>
            <a:lvl2pPr marL="180000" indent="0">
              <a:buFont typeface="Arial" panose="020B0604020202020204" pitchFamily="34" charset="0"/>
              <a:buNone/>
              <a:defRPr/>
            </a:lvl2pPr>
            <a:lvl3pPr marL="360000" indent="0">
              <a:buFont typeface="Arial" panose="020B0604020202020204" pitchFamily="34" charset="0"/>
              <a:buNone/>
              <a:defRPr/>
            </a:lvl3pPr>
            <a:lvl4pPr marL="540000" indent="0">
              <a:buFont typeface="Arial" panose="020B0604020202020204" pitchFamily="34" charset="0"/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GB" noProof="0" dirty="0"/>
              <a:t>CLF 2023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2F3CBAE-3E5F-422C-A1FD-BD9AAF662D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580913" y="6403738"/>
            <a:ext cx="2325290" cy="352312"/>
            <a:chOff x="8183012" y="99445"/>
            <a:chExt cx="3420552" cy="51825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04C1D280-57A4-4E9E-9091-73BBCE3BB8D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183012" y="112599"/>
              <a:ext cx="2100708" cy="486545"/>
              <a:chOff x="8478595" y="5246564"/>
              <a:chExt cx="1667074" cy="403005"/>
            </a:xfrm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56D153E8-DBF5-46B9-A2B6-0C61D2783680}"/>
                  </a:ext>
                </a:extLst>
              </p:cNvPr>
              <p:cNvSpPr/>
              <p:nvPr/>
            </p:nvSpPr>
            <p:spPr>
              <a:xfrm>
                <a:off x="8478595" y="5510698"/>
                <a:ext cx="192691" cy="79153"/>
              </a:xfrm>
              <a:custGeom>
                <a:avLst/>
                <a:gdLst>
                  <a:gd name="connsiteX0" fmla="*/ 192596 w 192690"/>
                  <a:gd name="connsiteY0" fmla="*/ 61913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4 h 79152"/>
                  <a:gd name="connsiteX8" fmla="*/ 92012 w 192690"/>
                  <a:gd name="connsiteY8" fmla="*/ 12764 h 79152"/>
                  <a:gd name="connsiteX9" fmla="*/ 89821 w 192690"/>
                  <a:gd name="connsiteY9" fmla="*/ 14954 h 79152"/>
                  <a:gd name="connsiteX10" fmla="*/ 89821 w 192690"/>
                  <a:gd name="connsiteY10" fmla="*/ 19241 h 79152"/>
                  <a:gd name="connsiteX11" fmla="*/ 130493 w 192690"/>
                  <a:gd name="connsiteY11" fmla="*/ 19241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1 h 79152"/>
                  <a:gd name="connsiteX15" fmla="*/ 141161 w 192690"/>
                  <a:gd name="connsiteY15" fmla="*/ 19241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8 h 79152"/>
                  <a:gd name="connsiteX27" fmla="*/ 27813 w 192690"/>
                  <a:gd name="connsiteY27" fmla="*/ 25718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6 h 79152"/>
                  <a:gd name="connsiteX39" fmla="*/ 17145 w 192690"/>
                  <a:gd name="connsiteY39" fmla="*/ 70676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626 h 79152"/>
                  <a:gd name="connsiteX46" fmla="*/ 132779 w 192690"/>
                  <a:gd name="connsiteY46" fmla="*/ 70580 h 79152"/>
                  <a:gd name="connsiteX47" fmla="*/ 117824 w 192690"/>
                  <a:gd name="connsiteY47" fmla="*/ 70580 h 79152"/>
                  <a:gd name="connsiteX48" fmla="*/ 115634 w 192690"/>
                  <a:gd name="connsiteY48" fmla="*/ 72771 h 79152"/>
                  <a:gd name="connsiteX49" fmla="*/ 115634 w 192690"/>
                  <a:gd name="connsiteY49" fmla="*/ 79153 h 79152"/>
                  <a:gd name="connsiteX50" fmla="*/ 139160 w 192690"/>
                  <a:gd name="connsiteY50" fmla="*/ 79153 h 79152"/>
                  <a:gd name="connsiteX51" fmla="*/ 162687 w 192690"/>
                  <a:gd name="connsiteY51" fmla="*/ 55626 h 79152"/>
                  <a:gd name="connsiteX52" fmla="*/ 179832 w 192690"/>
                  <a:gd name="connsiteY52" fmla="*/ 70580 h 79152"/>
                  <a:gd name="connsiteX53" fmla="*/ 166973 w 192690"/>
                  <a:gd name="connsiteY53" fmla="*/ 70580 h 79152"/>
                  <a:gd name="connsiteX54" fmla="*/ 164783 w 192690"/>
                  <a:gd name="connsiteY54" fmla="*/ 72771 h 79152"/>
                  <a:gd name="connsiteX55" fmla="*/ 164783 w 192690"/>
                  <a:gd name="connsiteY55" fmla="*/ 79153 h 79152"/>
                  <a:gd name="connsiteX56" fmla="*/ 190500 w 192690"/>
                  <a:gd name="connsiteY56" fmla="*/ 79153 h 79152"/>
                  <a:gd name="connsiteX57" fmla="*/ 192691 w 192690"/>
                  <a:gd name="connsiteY57" fmla="*/ 77057 h 79152"/>
                  <a:gd name="connsiteX58" fmla="*/ 192691 w 192690"/>
                  <a:gd name="connsiteY58" fmla="*/ 62103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3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4"/>
                    </a:lnTo>
                    <a:lnTo>
                      <a:pt x="92012" y="12764"/>
                    </a:lnTo>
                    <a:lnTo>
                      <a:pt x="89821" y="14954"/>
                    </a:lnTo>
                    <a:lnTo>
                      <a:pt x="89821" y="19241"/>
                    </a:lnTo>
                    <a:lnTo>
                      <a:pt x="130493" y="19241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1"/>
                    </a:lnTo>
                    <a:lnTo>
                      <a:pt x="141161" y="19241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8"/>
                    </a:lnTo>
                    <a:lnTo>
                      <a:pt x="27813" y="25718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6"/>
                    </a:lnTo>
                    <a:lnTo>
                      <a:pt x="17145" y="70676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626"/>
                      <a:pt x="132779" y="51626"/>
                    </a:cubicBezTo>
                    <a:lnTo>
                      <a:pt x="132779" y="70580"/>
                    </a:lnTo>
                    <a:lnTo>
                      <a:pt x="117824" y="70580"/>
                    </a:lnTo>
                    <a:lnTo>
                      <a:pt x="115634" y="72771"/>
                    </a:lnTo>
                    <a:lnTo>
                      <a:pt x="115634" y="79153"/>
                    </a:lnTo>
                    <a:lnTo>
                      <a:pt x="139160" y="79153"/>
                    </a:lnTo>
                    <a:lnTo>
                      <a:pt x="162687" y="55626"/>
                    </a:lnTo>
                    <a:lnTo>
                      <a:pt x="179832" y="70580"/>
                    </a:lnTo>
                    <a:lnTo>
                      <a:pt x="166973" y="70580"/>
                    </a:lnTo>
                    <a:lnTo>
                      <a:pt x="164783" y="72771"/>
                    </a:lnTo>
                    <a:lnTo>
                      <a:pt x="164783" y="79153"/>
                    </a:lnTo>
                    <a:lnTo>
                      <a:pt x="190500" y="79153"/>
                    </a:lnTo>
                    <a:lnTo>
                      <a:pt x="192691" y="77057"/>
                    </a:lnTo>
                    <a:lnTo>
                      <a:pt x="192691" y="6210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5CAD3D86-1FF4-4868-B9E0-DC86FB170A28}"/>
                  </a:ext>
                </a:extLst>
              </p:cNvPr>
              <p:cNvSpPr/>
              <p:nvPr/>
            </p:nvSpPr>
            <p:spPr>
              <a:xfrm>
                <a:off x="8478595" y="5397159"/>
                <a:ext cx="192691" cy="79153"/>
              </a:xfrm>
              <a:custGeom>
                <a:avLst/>
                <a:gdLst>
                  <a:gd name="connsiteX0" fmla="*/ 192596 w 192690"/>
                  <a:gd name="connsiteY0" fmla="*/ 61912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3 h 79152"/>
                  <a:gd name="connsiteX8" fmla="*/ 92012 w 192690"/>
                  <a:gd name="connsiteY8" fmla="*/ 12763 h 79152"/>
                  <a:gd name="connsiteX9" fmla="*/ 89821 w 192690"/>
                  <a:gd name="connsiteY9" fmla="*/ 14954 h 79152"/>
                  <a:gd name="connsiteX10" fmla="*/ 89821 w 192690"/>
                  <a:gd name="connsiteY10" fmla="*/ 19240 h 79152"/>
                  <a:gd name="connsiteX11" fmla="*/ 130493 w 192690"/>
                  <a:gd name="connsiteY11" fmla="*/ 19240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0 h 79152"/>
                  <a:gd name="connsiteX15" fmla="*/ 141161 w 192690"/>
                  <a:gd name="connsiteY15" fmla="*/ 19240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7 h 79152"/>
                  <a:gd name="connsiteX27" fmla="*/ 27813 w 192690"/>
                  <a:gd name="connsiteY27" fmla="*/ 25717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5 h 79152"/>
                  <a:gd name="connsiteX39" fmla="*/ 17145 w 192690"/>
                  <a:gd name="connsiteY39" fmla="*/ 70675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530 h 79152"/>
                  <a:gd name="connsiteX46" fmla="*/ 132779 w 192690"/>
                  <a:gd name="connsiteY46" fmla="*/ 70485 h 79152"/>
                  <a:gd name="connsiteX47" fmla="*/ 117824 w 192690"/>
                  <a:gd name="connsiteY47" fmla="*/ 70485 h 79152"/>
                  <a:gd name="connsiteX48" fmla="*/ 115634 w 192690"/>
                  <a:gd name="connsiteY48" fmla="*/ 72676 h 79152"/>
                  <a:gd name="connsiteX49" fmla="*/ 115634 w 192690"/>
                  <a:gd name="connsiteY49" fmla="*/ 79058 h 79152"/>
                  <a:gd name="connsiteX50" fmla="*/ 139160 w 192690"/>
                  <a:gd name="connsiteY50" fmla="*/ 79058 h 79152"/>
                  <a:gd name="connsiteX51" fmla="*/ 162687 w 192690"/>
                  <a:gd name="connsiteY51" fmla="*/ 55531 h 79152"/>
                  <a:gd name="connsiteX52" fmla="*/ 179832 w 192690"/>
                  <a:gd name="connsiteY52" fmla="*/ 70485 h 79152"/>
                  <a:gd name="connsiteX53" fmla="*/ 166973 w 192690"/>
                  <a:gd name="connsiteY53" fmla="*/ 70485 h 79152"/>
                  <a:gd name="connsiteX54" fmla="*/ 164783 w 192690"/>
                  <a:gd name="connsiteY54" fmla="*/ 72676 h 79152"/>
                  <a:gd name="connsiteX55" fmla="*/ 164783 w 192690"/>
                  <a:gd name="connsiteY55" fmla="*/ 79058 h 79152"/>
                  <a:gd name="connsiteX56" fmla="*/ 190500 w 192690"/>
                  <a:gd name="connsiteY56" fmla="*/ 79058 h 79152"/>
                  <a:gd name="connsiteX57" fmla="*/ 192691 w 192690"/>
                  <a:gd name="connsiteY57" fmla="*/ 76962 h 79152"/>
                  <a:gd name="connsiteX58" fmla="*/ 192691 w 192690"/>
                  <a:gd name="connsiteY58" fmla="*/ 62008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2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3"/>
                    </a:lnTo>
                    <a:lnTo>
                      <a:pt x="92012" y="12763"/>
                    </a:lnTo>
                    <a:lnTo>
                      <a:pt x="89821" y="14954"/>
                    </a:lnTo>
                    <a:lnTo>
                      <a:pt x="89821" y="19240"/>
                    </a:lnTo>
                    <a:lnTo>
                      <a:pt x="130493" y="19240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0"/>
                    </a:lnTo>
                    <a:lnTo>
                      <a:pt x="141161" y="19240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7"/>
                    </a:lnTo>
                    <a:lnTo>
                      <a:pt x="27813" y="25717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5"/>
                    </a:lnTo>
                    <a:lnTo>
                      <a:pt x="17145" y="70675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676"/>
                    </a:lnTo>
                    <a:lnTo>
                      <a:pt x="115634" y="79058"/>
                    </a:lnTo>
                    <a:lnTo>
                      <a:pt x="139160" y="79058"/>
                    </a:lnTo>
                    <a:lnTo>
                      <a:pt x="162687" y="55531"/>
                    </a:lnTo>
                    <a:lnTo>
                      <a:pt x="179832" y="70485"/>
                    </a:lnTo>
                    <a:lnTo>
                      <a:pt x="166973" y="70485"/>
                    </a:lnTo>
                    <a:lnTo>
                      <a:pt x="164783" y="72676"/>
                    </a:lnTo>
                    <a:lnTo>
                      <a:pt x="164783" y="79058"/>
                    </a:lnTo>
                    <a:lnTo>
                      <a:pt x="190500" y="79058"/>
                    </a:lnTo>
                    <a:lnTo>
                      <a:pt x="192691" y="76962"/>
                    </a:lnTo>
                    <a:lnTo>
                      <a:pt x="192691" y="6200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22F82E93-0BD3-4AA2-B3D9-412E8233B026}"/>
                  </a:ext>
                </a:extLst>
              </p:cNvPr>
              <p:cNvSpPr/>
              <p:nvPr/>
            </p:nvSpPr>
            <p:spPr>
              <a:xfrm>
                <a:off x="8478596" y="5283525"/>
                <a:ext cx="192691" cy="79057"/>
              </a:xfrm>
              <a:custGeom>
                <a:avLst/>
                <a:gdLst>
                  <a:gd name="connsiteX0" fmla="*/ 192596 w 192690"/>
                  <a:gd name="connsiteY0" fmla="*/ 62008 h 79057"/>
                  <a:gd name="connsiteX1" fmla="*/ 177641 w 192690"/>
                  <a:gd name="connsiteY1" fmla="*/ 47053 h 79057"/>
                  <a:gd name="connsiteX2" fmla="*/ 177641 w 192690"/>
                  <a:gd name="connsiteY2" fmla="*/ 27813 h 79057"/>
                  <a:gd name="connsiteX3" fmla="*/ 181928 w 192690"/>
                  <a:gd name="connsiteY3" fmla="*/ 23527 h 79057"/>
                  <a:gd name="connsiteX4" fmla="*/ 181928 w 192690"/>
                  <a:gd name="connsiteY4" fmla="*/ 8573 h 79057"/>
                  <a:gd name="connsiteX5" fmla="*/ 177641 w 192690"/>
                  <a:gd name="connsiteY5" fmla="*/ 4286 h 79057"/>
                  <a:gd name="connsiteX6" fmla="*/ 134874 w 192690"/>
                  <a:gd name="connsiteY6" fmla="*/ 4286 h 79057"/>
                  <a:gd name="connsiteX7" fmla="*/ 126302 w 192690"/>
                  <a:gd name="connsiteY7" fmla="*/ 12859 h 79057"/>
                  <a:gd name="connsiteX8" fmla="*/ 92012 w 192690"/>
                  <a:gd name="connsiteY8" fmla="*/ 12859 h 79057"/>
                  <a:gd name="connsiteX9" fmla="*/ 89916 w 192690"/>
                  <a:gd name="connsiteY9" fmla="*/ 14954 h 79057"/>
                  <a:gd name="connsiteX10" fmla="*/ 89916 w 192690"/>
                  <a:gd name="connsiteY10" fmla="*/ 19241 h 79057"/>
                  <a:gd name="connsiteX11" fmla="*/ 130588 w 192690"/>
                  <a:gd name="connsiteY11" fmla="*/ 19241 h 79057"/>
                  <a:gd name="connsiteX12" fmla="*/ 139160 w 192690"/>
                  <a:gd name="connsiteY12" fmla="*/ 10668 h 79057"/>
                  <a:gd name="connsiteX13" fmla="*/ 175546 w 192690"/>
                  <a:gd name="connsiteY13" fmla="*/ 10668 h 79057"/>
                  <a:gd name="connsiteX14" fmla="*/ 175546 w 192690"/>
                  <a:gd name="connsiteY14" fmla="*/ 19241 h 79057"/>
                  <a:gd name="connsiteX15" fmla="*/ 141256 w 192690"/>
                  <a:gd name="connsiteY15" fmla="*/ 19241 h 79057"/>
                  <a:gd name="connsiteX16" fmla="*/ 132683 w 192690"/>
                  <a:gd name="connsiteY16" fmla="*/ 27813 h 79057"/>
                  <a:gd name="connsiteX17" fmla="*/ 85630 w 192690"/>
                  <a:gd name="connsiteY17" fmla="*/ 27813 h 79057"/>
                  <a:gd name="connsiteX18" fmla="*/ 72771 w 192690"/>
                  <a:gd name="connsiteY18" fmla="*/ 14954 h 79057"/>
                  <a:gd name="connsiteX19" fmla="*/ 70676 w 192690"/>
                  <a:gd name="connsiteY19" fmla="*/ 0 h 79057"/>
                  <a:gd name="connsiteX20" fmla="*/ 66389 w 192690"/>
                  <a:gd name="connsiteY20" fmla="*/ 6382 h 79057"/>
                  <a:gd name="connsiteX21" fmla="*/ 34195 w 192690"/>
                  <a:gd name="connsiteY21" fmla="*/ 6382 h 79057"/>
                  <a:gd name="connsiteX22" fmla="*/ 34195 w 192690"/>
                  <a:gd name="connsiteY22" fmla="*/ 8477 h 79057"/>
                  <a:gd name="connsiteX23" fmla="*/ 27813 w 192690"/>
                  <a:gd name="connsiteY23" fmla="*/ 12763 h 79057"/>
                  <a:gd name="connsiteX24" fmla="*/ 27813 w 192690"/>
                  <a:gd name="connsiteY24" fmla="*/ 21336 h 79057"/>
                  <a:gd name="connsiteX25" fmla="*/ 36386 w 192690"/>
                  <a:gd name="connsiteY25" fmla="*/ 21336 h 79057"/>
                  <a:gd name="connsiteX26" fmla="*/ 32099 w 192690"/>
                  <a:gd name="connsiteY26" fmla="*/ 25622 h 79057"/>
                  <a:gd name="connsiteX27" fmla="*/ 27813 w 192690"/>
                  <a:gd name="connsiteY27" fmla="*/ 25622 h 79057"/>
                  <a:gd name="connsiteX28" fmla="*/ 27813 w 192690"/>
                  <a:gd name="connsiteY28" fmla="*/ 29908 h 79057"/>
                  <a:gd name="connsiteX29" fmla="*/ 29909 w 192690"/>
                  <a:gd name="connsiteY29" fmla="*/ 32004 h 79057"/>
                  <a:gd name="connsiteX30" fmla="*/ 47149 w 192690"/>
                  <a:gd name="connsiteY30" fmla="*/ 32004 h 79057"/>
                  <a:gd name="connsiteX31" fmla="*/ 42863 w 192690"/>
                  <a:gd name="connsiteY31" fmla="*/ 44863 h 79057"/>
                  <a:gd name="connsiteX32" fmla="*/ 36290 w 192690"/>
                  <a:gd name="connsiteY32" fmla="*/ 44863 h 79057"/>
                  <a:gd name="connsiteX33" fmla="*/ 21336 w 192690"/>
                  <a:gd name="connsiteY33" fmla="*/ 32004 h 79057"/>
                  <a:gd name="connsiteX34" fmla="*/ 2096 w 192690"/>
                  <a:gd name="connsiteY34" fmla="*/ 32004 h 79057"/>
                  <a:gd name="connsiteX35" fmla="*/ 0 w 192690"/>
                  <a:gd name="connsiteY35" fmla="*/ 34195 h 79057"/>
                  <a:gd name="connsiteX36" fmla="*/ 0 w 192690"/>
                  <a:gd name="connsiteY36" fmla="*/ 40577 h 79057"/>
                  <a:gd name="connsiteX37" fmla="*/ 17145 w 192690"/>
                  <a:gd name="connsiteY37" fmla="*/ 40577 h 79057"/>
                  <a:gd name="connsiteX38" fmla="*/ 47149 w 192690"/>
                  <a:gd name="connsiteY38" fmla="*/ 70580 h 79057"/>
                  <a:gd name="connsiteX39" fmla="*/ 17145 w 192690"/>
                  <a:gd name="connsiteY39" fmla="*/ 70580 h 79057"/>
                  <a:gd name="connsiteX40" fmla="*/ 14954 w 192690"/>
                  <a:gd name="connsiteY40" fmla="*/ 72676 h 79057"/>
                  <a:gd name="connsiteX41" fmla="*/ 14954 w 192690"/>
                  <a:gd name="connsiteY41" fmla="*/ 79058 h 79057"/>
                  <a:gd name="connsiteX42" fmla="*/ 64770 w 192690"/>
                  <a:gd name="connsiteY42" fmla="*/ 79058 h 79057"/>
                  <a:gd name="connsiteX43" fmla="*/ 74962 w 192690"/>
                  <a:gd name="connsiteY43" fmla="*/ 68390 h 79057"/>
                  <a:gd name="connsiteX44" fmla="*/ 109823 w 192690"/>
                  <a:gd name="connsiteY44" fmla="*/ 60198 h 79057"/>
                  <a:gd name="connsiteX45" fmla="*/ 132779 w 192690"/>
                  <a:gd name="connsiteY45" fmla="*/ 51530 h 79057"/>
                  <a:gd name="connsiteX46" fmla="*/ 132779 w 192690"/>
                  <a:gd name="connsiteY46" fmla="*/ 70485 h 79057"/>
                  <a:gd name="connsiteX47" fmla="*/ 117824 w 192690"/>
                  <a:gd name="connsiteY47" fmla="*/ 70485 h 79057"/>
                  <a:gd name="connsiteX48" fmla="*/ 115634 w 192690"/>
                  <a:gd name="connsiteY48" fmla="*/ 72581 h 79057"/>
                  <a:gd name="connsiteX49" fmla="*/ 115634 w 192690"/>
                  <a:gd name="connsiteY49" fmla="*/ 78962 h 79057"/>
                  <a:gd name="connsiteX50" fmla="*/ 139160 w 192690"/>
                  <a:gd name="connsiteY50" fmla="*/ 78962 h 79057"/>
                  <a:gd name="connsiteX51" fmla="*/ 162687 w 192690"/>
                  <a:gd name="connsiteY51" fmla="*/ 55435 h 79057"/>
                  <a:gd name="connsiteX52" fmla="*/ 179832 w 192690"/>
                  <a:gd name="connsiteY52" fmla="*/ 70390 h 79057"/>
                  <a:gd name="connsiteX53" fmla="*/ 166973 w 192690"/>
                  <a:gd name="connsiteY53" fmla="*/ 70390 h 79057"/>
                  <a:gd name="connsiteX54" fmla="*/ 164783 w 192690"/>
                  <a:gd name="connsiteY54" fmla="*/ 72485 h 79057"/>
                  <a:gd name="connsiteX55" fmla="*/ 164783 w 192690"/>
                  <a:gd name="connsiteY55" fmla="*/ 78867 h 79057"/>
                  <a:gd name="connsiteX56" fmla="*/ 190500 w 192690"/>
                  <a:gd name="connsiteY56" fmla="*/ 78867 h 79057"/>
                  <a:gd name="connsiteX57" fmla="*/ 192691 w 192690"/>
                  <a:gd name="connsiteY57" fmla="*/ 76771 h 79057"/>
                  <a:gd name="connsiteX58" fmla="*/ 192691 w 192690"/>
                  <a:gd name="connsiteY58" fmla="*/ 61817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057">
                    <a:moveTo>
                      <a:pt x="192596" y="62008"/>
                    </a:moveTo>
                    <a:lnTo>
                      <a:pt x="177641" y="47053"/>
                    </a:lnTo>
                    <a:lnTo>
                      <a:pt x="177641" y="27813"/>
                    </a:lnTo>
                    <a:lnTo>
                      <a:pt x="181928" y="23527"/>
                    </a:lnTo>
                    <a:lnTo>
                      <a:pt x="181928" y="8573"/>
                    </a:lnTo>
                    <a:lnTo>
                      <a:pt x="177641" y="4286"/>
                    </a:lnTo>
                    <a:lnTo>
                      <a:pt x="134874" y="4286"/>
                    </a:lnTo>
                    <a:lnTo>
                      <a:pt x="126302" y="12859"/>
                    </a:lnTo>
                    <a:lnTo>
                      <a:pt x="92012" y="12859"/>
                    </a:lnTo>
                    <a:lnTo>
                      <a:pt x="89916" y="14954"/>
                    </a:lnTo>
                    <a:lnTo>
                      <a:pt x="89916" y="19241"/>
                    </a:lnTo>
                    <a:lnTo>
                      <a:pt x="130588" y="19241"/>
                    </a:lnTo>
                    <a:lnTo>
                      <a:pt x="139160" y="10668"/>
                    </a:lnTo>
                    <a:lnTo>
                      <a:pt x="175546" y="10668"/>
                    </a:lnTo>
                    <a:lnTo>
                      <a:pt x="175546" y="19241"/>
                    </a:lnTo>
                    <a:lnTo>
                      <a:pt x="141256" y="19241"/>
                    </a:lnTo>
                    <a:lnTo>
                      <a:pt x="132683" y="27813"/>
                    </a:lnTo>
                    <a:lnTo>
                      <a:pt x="85630" y="27813"/>
                    </a:lnTo>
                    <a:lnTo>
                      <a:pt x="72771" y="14954"/>
                    </a:lnTo>
                    <a:cubicBezTo>
                      <a:pt x="72771" y="14954"/>
                      <a:pt x="74200" y="4953"/>
                      <a:pt x="70676" y="0"/>
                    </a:cubicBezTo>
                    <a:lnTo>
                      <a:pt x="66389" y="6382"/>
                    </a:lnTo>
                    <a:lnTo>
                      <a:pt x="34195" y="6382"/>
                    </a:lnTo>
                    <a:lnTo>
                      <a:pt x="34195" y="8477"/>
                    </a:lnTo>
                    <a:lnTo>
                      <a:pt x="27813" y="12763"/>
                    </a:lnTo>
                    <a:lnTo>
                      <a:pt x="27813" y="21336"/>
                    </a:lnTo>
                    <a:lnTo>
                      <a:pt x="36386" y="21336"/>
                    </a:lnTo>
                    <a:lnTo>
                      <a:pt x="32099" y="25622"/>
                    </a:lnTo>
                    <a:lnTo>
                      <a:pt x="27813" y="25622"/>
                    </a:lnTo>
                    <a:lnTo>
                      <a:pt x="27813" y="29908"/>
                    </a:lnTo>
                    <a:lnTo>
                      <a:pt x="29909" y="32004"/>
                    </a:lnTo>
                    <a:lnTo>
                      <a:pt x="47149" y="32004"/>
                    </a:lnTo>
                    <a:lnTo>
                      <a:pt x="42863" y="44863"/>
                    </a:lnTo>
                    <a:lnTo>
                      <a:pt x="36290" y="44863"/>
                    </a:lnTo>
                    <a:lnTo>
                      <a:pt x="21336" y="32004"/>
                    </a:lnTo>
                    <a:lnTo>
                      <a:pt x="2096" y="32004"/>
                    </a:lnTo>
                    <a:lnTo>
                      <a:pt x="0" y="34195"/>
                    </a:lnTo>
                    <a:lnTo>
                      <a:pt x="0" y="40577"/>
                    </a:lnTo>
                    <a:lnTo>
                      <a:pt x="17145" y="40577"/>
                    </a:lnTo>
                    <a:lnTo>
                      <a:pt x="47149" y="70580"/>
                    </a:lnTo>
                    <a:lnTo>
                      <a:pt x="17145" y="70580"/>
                    </a:lnTo>
                    <a:lnTo>
                      <a:pt x="14954" y="72676"/>
                    </a:lnTo>
                    <a:lnTo>
                      <a:pt x="14954" y="79058"/>
                    </a:lnTo>
                    <a:lnTo>
                      <a:pt x="64770" y="79058"/>
                    </a:lnTo>
                    <a:lnTo>
                      <a:pt x="74962" y="68390"/>
                    </a:lnTo>
                    <a:cubicBezTo>
                      <a:pt x="74962" y="68390"/>
                      <a:pt x="92964" y="70485"/>
                      <a:pt x="109823" y="60198"/>
                    </a:cubicBezTo>
                    <a:cubicBezTo>
                      <a:pt x="121253" y="53150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581"/>
                    </a:lnTo>
                    <a:lnTo>
                      <a:pt x="115634" y="78962"/>
                    </a:lnTo>
                    <a:lnTo>
                      <a:pt x="139160" y="78962"/>
                    </a:lnTo>
                    <a:lnTo>
                      <a:pt x="162687" y="55435"/>
                    </a:lnTo>
                    <a:lnTo>
                      <a:pt x="179832" y="70390"/>
                    </a:lnTo>
                    <a:lnTo>
                      <a:pt x="166973" y="70390"/>
                    </a:lnTo>
                    <a:lnTo>
                      <a:pt x="164783" y="72485"/>
                    </a:lnTo>
                    <a:lnTo>
                      <a:pt x="164783" y="78867"/>
                    </a:lnTo>
                    <a:lnTo>
                      <a:pt x="190500" y="78867"/>
                    </a:lnTo>
                    <a:lnTo>
                      <a:pt x="192691" y="76771"/>
                    </a:lnTo>
                    <a:lnTo>
                      <a:pt x="192691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A8482BD2-CC0F-4407-8586-904828E32443}"/>
                  </a:ext>
                </a:extLst>
              </p:cNvPr>
              <p:cNvSpPr/>
              <p:nvPr/>
            </p:nvSpPr>
            <p:spPr>
              <a:xfrm>
                <a:off x="8765109" y="5246564"/>
                <a:ext cx="22956" cy="403005"/>
              </a:xfrm>
              <a:custGeom>
                <a:avLst/>
                <a:gdLst>
                  <a:gd name="connsiteX0" fmla="*/ 22955 w 22955"/>
                  <a:gd name="connsiteY0" fmla="*/ 22860 h 403002"/>
                  <a:gd name="connsiteX1" fmla="*/ 22955 w 22955"/>
                  <a:gd name="connsiteY1" fmla="*/ 380048 h 403002"/>
                  <a:gd name="connsiteX2" fmla="*/ 0 w 22955"/>
                  <a:gd name="connsiteY2" fmla="*/ 403003 h 403002"/>
                  <a:gd name="connsiteX3" fmla="*/ 0 w 22955"/>
                  <a:gd name="connsiteY3" fmla="*/ 0 h 403002"/>
                  <a:gd name="connsiteX4" fmla="*/ 22955 w 22955"/>
                  <a:gd name="connsiteY4" fmla="*/ 22860 h 40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55" h="403002">
                    <a:moveTo>
                      <a:pt x="22955" y="22860"/>
                    </a:moveTo>
                    <a:lnTo>
                      <a:pt x="22955" y="380048"/>
                    </a:lnTo>
                    <a:lnTo>
                      <a:pt x="0" y="403003"/>
                    </a:lnTo>
                    <a:lnTo>
                      <a:pt x="0" y="0"/>
                    </a:lnTo>
                    <a:lnTo>
                      <a:pt x="22955" y="22860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B7790053-3A72-4EBC-9068-77841FDD272E}"/>
                  </a:ext>
                </a:extLst>
              </p:cNvPr>
              <p:cNvSpPr/>
              <p:nvPr/>
            </p:nvSpPr>
            <p:spPr>
              <a:xfrm>
                <a:off x="8876552" y="5290284"/>
                <a:ext cx="57054" cy="79724"/>
              </a:xfrm>
              <a:custGeom>
                <a:avLst/>
                <a:gdLst>
                  <a:gd name="connsiteX0" fmla="*/ 43053 w 57054"/>
                  <a:gd name="connsiteY0" fmla="*/ 79724 h 79724"/>
                  <a:gd name="connsiteX1" fmla="*/ 43053 w 57054"/>
                  <a:gd name="connsiteY1" fmla="*/ 46768 h 79724"/>
                  <a:gd name="connsiteX2" fmla="*/ 14002 w 57054"/>
                  <a:gd name="connsiteY2" fmla="*/ 46768 h 79724"/>
                  <a:gd name="connsiteX3" fmla="*/ 14002 w 57054"/>
                  <a:gd name="connsiteY3" fmla="*/ 79724 h 79724"/>
                  <a:gd name="connsiteX4" fmla="*/ 0 w 57054"/>
                  <a:gd name="connsiteY4" fmla="*/ 79724 h 79724"/>
                  <a:gd name="connsiteX5" fmla="*/ 0 w 57054"/>
                  <a:gd name="connsiteY5" fmla="*/ 0 h 79724"/>
                  <a:gd name="connsiteX6" fmla="*/ 14002 w 57054"/>
                  <a:gd name="connsiteY6" fmla="*/ 0 h 79724"/>
                  <a:gd name="connsiteX7" fmla="*/ 14002 w 57054"/>
                  <a:gd name="connsiteY7" fmla="*/ 33433 h 79724"/>
                  <a:gd name="connsiteX8" fmla="*/ 43053 w 57054"/>
                  <a:gd name="connsiteY8" fmla="*/ 33433 h 79724"/>
                  <a:gd name="connsiteX9" fmla="*/ 43053 w 57054"/>
                  <a:gd name="connsiteY9" fmla="*/ 0 h 79724"/>
                  <a:gd name="connsiteX10" fmla="*/ 57055 w 57054"/>
                  <a:gd name="connsiteY10" fmla="*/ 0 h 79724"/>
                  <a:gd name="connsiteX11" fmla="*/ 57055 w 57054"/>
                  <a:gd name="connsiteY11" fmla="*/ 79724 h 79724"/>
                  <a:gd name="connsiteX12" fmla="*/ 43053 w 57054"/>
                  <a:gd name="connsiteY12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054" h="79724">
                    <a:moveTo>
                      <a:pt x="43053" y="79724"/>
                    </a:moveTo>
                    <a:lnTo>
                      <a:pt x="43053" y="46768"/>
                    </a:lnTo>
                    <a:lnTo>
                      <a:pt x="14002" y="46768"/>
                    </a:lnTo>
                    <a:lnTo>
                      <a:pt x="14002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4002" y="0"/>
                    </a:lnTo>
                    <a:lnTo>
                      <a:pt x="14002" y="33433"/>
                    </a:lnTo>
                    <a:lnTo>
                      <a:pt x="43053" y="33433"/>
                    </a:lnTo>
                    <a:lnTo>
                      <a:pt x="43053" y="0"/>
                    </a:lnTo>
                    <a:lnTo>
                      <a:pt x="57055" y="0"/>
                    </a:lnTo>
                    <a:lnTo>
                      <a:pt x="57055" y="79724"/>
                    </a:lnTo>
                    <a:lnTo>
                      <a:pt x="43053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B7BA8393-6FD3-411E-A3E4-7929A0DCC598}"/>
                  </a:ext>
                </a:extLst>
              </p:cNvPr>
              <p:cNvSpPr/>
              <p:nvPr/>
            </p:nvSpPr>
            <p:spPr>
              <a:xfrm>
                <a:off x="8953133" y="5311811"/>
                <a:ext cx="49339" cy="58865"/>
              </a:xfrm>
              <a:custGeom>
                <a:avLst/>
                <a:gdLst>
                  <a:gd name="connsiteX0" fmla="*/ 47053 w 49339"/>
                  <a:gd name="connsiteY0" fmla="*/ 49530 h 58864"/>
                  <a:gd name="connsiteX1" fmla="*/ 40672 w 49339"/>
                  <a:gd name="connsiteY1" fmla="*/ 56102 h 58864"/>
                  <a:gd name="connsiteX2" fmla="*/ 30956 w 49339"/>
                  <a:gd name="connsiteY2" fmla="*/ 58865 h 58864"/>
                  <a:gd name="connsiteX3" fmla="*/ 18478 w 49339"/>
                  <a:gd name="connsiteY3" fmla="*/ 58865 h 58864"/>
                  <a:gd name="connsiteX4" fmla="*/ 8858 w 49339"/>
                  <a:gd name="connsiteY4" fmla="*/ 56102 h 58864"/>
                  <a:gd name="connsiteX5" fmla="*/ 2286 w 49339"/>
                  <a:gd name="connsiteY5" fmla="*/ 49530 h 58864"/>
                  <a:gd name="connsiteX6" fmla="*/ 0 w 49339"/>
                  <a:gd name="connsiteY6" fmla="*/ 41434 h 58864"/>
                  <a:gd name="connsiteX7" fmla="*/ 0 w 49339"/>
                  <a:gd name="connsiteY7" fmla="*/ 17431 h 58864"/>
                  <a:gd name="connsiteX8" fmla="*/ 2286 w 49339"/>
                  <a:gd name="connsiteY8" fmla="*/ 9335 h 58864"/>
                  <a:gd name="connsiteX9" fmla="*/ 8858 w 49339"/>
                  <a:gd name="connsiteY9" fmla="*/ 2953 h 58864"/>
                  <a:gd name="connsiteX10" fmla="*/ 18478 w 49339"/>
                  <a:gd name="connsiteY10" fmla="*/ 0 h 58864"/>
                  <a:gd name="connsiteX11" fmla="*/ 30956 w 49339"/>
                  <a:gd name="connsiteY11" fmla="*/ 0 h 58864"/>
                  <a:gd name="connsiteX12" fmla="*/ 40672 w 49339"/>
                  <a:gd name="connsiteY12" fmla="*/ 2953 h 58864"/>
                  <a:gd name="connsiteX13" fmla="*/ 47053 w 49339"/>
                  <a:gd name="connsiteY13" fmla="*/ 9335 h 58864"/>
                  <a:gd name="connsiteX14" fmla="*/ 49340 w 49339"/>
                  <a:gd name="connsiteY14" fmla="*/ 17431 h 58864"/>
                  <a:gd name="connsiteX15" fmla="*/ 49340 w 49339"/>
                  <a:gd name="connsiteY15" fmla="*/ 41434 h 58864"/>
                  <a:gd name="connsiteX16" fmla="*/ 47053 w 49339"/>
                  <a:gd name="connsiteY16" fmla="*/ 49530 h 58864"/>
                  <a:gd name="connsiteX17" fmla="*/ 13335 w 49339"/>
                  <a:gd name="connsiteY17" fmla="*/ 42101 h 58864"/>
                  <a:gd name="connsiteX18" fmla="*/ 17717 w 49339"/>
                  <a:gd name="connsiteY18" fmla="*/ 46101 h 58864"/>
                  <a:gd name="connsiteX19" fmla="*/ 18478 w 49339"/>
                  <a:gd name="connsiteY19" fmla="*/ 46196 h 58864"/>
                  <a:gd name="connsiteX20" fmla="*/ 30766 w 49339"/>
                  <a:gd name="connsiteY20" fmla="*/ 46196 h 58864"/>
                  <a:gd name="connsiteX21" fmla="*/ 31528 w 49339"/>
                  <a:gd name="connsiteY21" fmla="*/ 45911 h 58864"/>
                  <a:gd name="connsiteX22" fmla="*/ 35909 w 49339"/>
                  <a:gd name="connsiteY22" fmla="*/ 42005 h 58864"/>
                  <a:gd name="connsiteX23" fmla="*/ 35909 w 49339"/>
                  <a:gd name="connsiteY23" fmla="*/ 17717 h 58864"/>
                  <a:gd name="connsiteX24" fmla="*/ 35814 w 49339"/>
                  <a:gd name="connsiteY24" fmla="*/ 16955 h 58864"/>
                  <a:gd name="connsiteX25" fmla="*/ 31432 w 49339"/>
                  <a:gd name="connsiteY25" fmla="*/ 12668 h 58864"/>
                  <a:gd name="connsiteX26" fmla="*/ 30766 w 49339"/>
                  <a:gd name="connsiteY26" fmla="*/ 12573 h 58864"/>
                  <a:gd name="connsiteX27" fmla="*/ 18478 w 49339"/>
                  <a:gd name="connsiteY27" fmla="*/ 12573 h 58864"/>
                  <a:gd name="connsiteX28" fmla="*/ 17812 w 49339"/>
                  <a:gd name="connsiteY28" fmla="*/ 12668 h 58864"/>
                  <a:gd name="connsiteX29" fmla="*/ 13430 w 49339"/>
                  <a:gd name="connsiteY29" fmla="*/ 16955 h 58864"/>
                  <a:gd name="connsiteX30" fmla="*/ 13335 w 49339"/>
                  <a:gd name="connsiteY30" fmla="*/ 17717 h 58864"/>
                  <a:gd name="connsiteX31" fmla="*/ 13335 w 49339"/>
                  <a:gd name="connsiteY31" fmla="*/ 4200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9339" h="58864">
                    <a:moveTo>
                      <a:pt x="47053" y="49530"/>
                    </a:moveTo>
                    <a:cubicBezTo>
                      <a:pt x="46006" y="51149"/>
                      <a:pt x="42672" y="54578"/>
                      <a:pt x="40672" y="56102"/>
                    </a:cubicBezTo>
                    <a:cubicBezTo>
                      <a:pt x="38005" y="58007"/>
                      <a:pt x="34290" y="58865"/>
                      <a:pt x="30956" y="58865"/>
                    </a:cubicBezTo>
                    <a:lnTo>
                      <a:pt x="18478" y="58865"/>
                    </a:lnTo>
                    <a:cubicBezTo>
                      <a:pt x="15145" y="58865"/>
                      <a:pt x="11525" y="57912"/>
                      <a:pt x="8858" y="56102"/>
                    </a:cubicBezTo>
                    <a:cubicBezTo>
                      <a:pt x="6858" y="54674"/>
                      <a:pt x="3429" y="51149"/>
                      <a:pt x="2286" y="49530"/>
                    </a:cubicBezTo>
                    <a:cubicBezTo>
                      <a:pt x="476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381" y="11811"/>
                      <a:pt x="2286" y="9335"/>
                    </a:cubicBezTo>
                    <a:cubicBezTo>
                      <a:pt x="3334" y="7715"/>
                      <a:pt x="6858" y="4382"/>
                      <a:pt x="8858" y="2953"/>
                    </a:cubicBezTo>
                    <a:cubicBezTo>
                      <a:pt x="11525" y="1048"/>
                      <a:pt x="15145" y="0"/>
                      <a:pt x="18478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3" y="9335"/>
                    </a:cubicBezTo>
                    <a:cubicBezTo>
                      <a:pt x="48958" y="11906"/>
                      <a:pt x="49340" y="14764"/>
                      <a:pt x="49340" y="17431"/>
                    </a:cubicBezTo>
                    <a:lnTo>
                      <a:pt x="49340" y="41434"/>
                    </a:lnTo>
                    <a:cubicBezTo>
                      <a:pt x="49340" y="44101"/>
                      <a:pt x="48958" y="47054"/>
                      <a:pt x="47053" y="49530"/>
                    </a:cubicBezTo>
                    <a:moveTo>
                      <a:pt x="13335" y="42101"/>
                    </a:moveTo>
                    <a:cubicBezTo>
                      <a:pt x="13335" y="43148"/>
                      <a:pt x="16097" y="45149"/>
                      <a:pt x="17717" y="46101"/>
                    </a:cubicBezTo>
                    <a:cubicBezTo>
                      <a:pt x="17717" y="46101"/>
                      <a:pt x="18002" y="46196"/>
                      <a:pt x="18478" y="46196"/>
                    </a:cubicBezTo>
                    <a:lnTo>
                      <a:pt x="30766" y="46196"/>
                    </a:lnTo>
                    <a:cubicBezTo>
                      <a:pt x="30766" y="46196"/>
                      <a:pt x="31337" y="46101"/>
                      <a:pt x="31528" y="45911"/>
                    </a:cubicBezTo>
                    <a:cubicBezTo>
                      <a:pt x="32766" y="45244"/>
                      <a:pt x="35814" y="43148"/>
                      <a:pt x="35909" y="42005"/>
                    </a:cubicBezTo>
                    <a:lnTo>
                      <a:pt x="35909" y="17717"/>
                    </a:lnTo>
                    <a:cubicBezTo>
                      <a:pt x="35909" y="17717"/>
                      <a:pt x="35909" y="17336"/>
                      <a:pt x="35814" y="16955"/>
                    </a:cubicBezTo>
                    <a:cubicBezTo>
                      <a:pt x="35052" y="15621"/>
                      <a:pt x="33052" y="13621"/>
                      <a:pt x="31432" y="12668"/>
                    </a:cubicBezTo>
                    <a:cubicBezTo>
                      <a:pt x="31147" y="12573"/>
                      <a:pt x="31052" y="12573"/>
                      <a:pt x="30766" y="12573"/>
                    </a:cubicBezTo>
                    <a:lnTo>
                      <a:pt x="18478" y="12573"/>
                    </a:lnTo>
                    <a:cubicBezTo>
                      <a:pt x="18478" y="12573"/>
                      <a:pt x="18098" y="12573"/>
                      <a:pt x="17812" y="12668"/>
                    </a:cubicBezTo>
                    <a:cubicBezTo>
                      <a:pt x="16193" y="13621"/>
                      <a:pt x="14383" y="15335"/>
                      <a:pt x="13430" y="16955"/>
                    </a:cubicBezTo>
                    <a:cubicBezTo>
                      <a:pt x="13335" y="17240"/>
                      <a:pt x="13335" y="17717"/>
                      <a:pt x="13335" y="17717"/>
                    </a:cubicBezTo>
                    <a:lnTo>
                      <a:pt x="13335" y="42005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4D6D1BD5-8606-4DB1-9F66-30ED3B23EA89}"/>
                  </a:ext>
                </a:extLst>
              </p:cNvPr>
              <p:cNvSpPr/>
              <p:nvPr/>
            </p:nvSpPr>
            <p:spPr>
              <a:xfrm>
                <a:off x="9022190" y="5311716"/>
                <a:ext cx="49434" cy="58865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8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8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576 w 49434"/>
                  <a:gd name="connsiteY21" fmla="*/ 16954 h 58864"/>
                  <a:gd name="connsiteX22" fmla="*/ 36195 w 49434"/>
                  <a:gd name="connsiteY22" fmla="*/ 16383 h 58864"/>
                  <a:gd name="connsiteX23" fmla="*/ 31242 w 49434"/>
                  <a:gd name="connsiteY23" fmla="*/ 12668 h 58864"/>
                  <a:gd name="connsiteX24" fmla="*/ 18764 w 49434"/>
                  <a:gd name="connsiteY24" fmla="*/ 12668 h 58864"/>
                  <a:gd name="connsiteX25" fmla="*/ 18002 w 49434"/>
                  <a:gd name="connsiteY25" fmla="*/ 12764 h 58864"/>
                  <a:gd name="connsiteX26" fmla="*/ 13621 w 49434"/>
                  <a:gd name="connsiteY26" fmla="*/ 16764 h 58864"/>
                  <a:gd name="connsiteX27" fmla="*/ 13526 w 49434"/>
                  <a:gd name="connsiteY27" fmla="*/ 17716 h 58864"/>
                  <a:gd name="connsiteX28" fmla="*/ 13526 w 49434"/>
                  <a:gd name="connsiteY28" fmla="*/ 41339 h 58864"/>
                  <a:gd name="connsiteX29" fmla="*/ 13526 w 49434"/>
                  <a:gd name="connsiteY29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8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0" y="58865"/>
                      <a:pt x="31242" y="58865"/>
                    </a:cubicBezTo>
                    <a:lnTo>
                      <a:pt x="18478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2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2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8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576" y="16954"/>
                    </a:lnTo>
                    <a:cubicBezTo>
                      <a:pt x="36576" y="16954"/>
                      <a:pt x="36481" y="16669"/>
                      <a:pt x="36195" y="16383"/>
                    </a:cubicBezTo>
                    <a:cubicBezTo>
                      <a:pt x="35433" y="15430"/>
                      <a:pt x="32576" y="12668"/>
                      <a:pt x="31242" y="12668"/>
                    </a:cubicBezTo>
                    <a:lnTo>
                      <a:pt x="18764" y="12668"/>
                    </a:lnTo>
                    <a:cubicBezTo>
                      <a:pt x="18764" y="12668"/>
                      <a:pt x="18193" y="12668"/>
                      <a:pt x="18002" y="12764"/>
                    </a:cubicBezTo>
                    <a:cubicBezTo>
                      <a:pt x="16383" y="13716"/>
                      <a:pt x="14573" y="15145"/>
                      <a:pt x="13621" y="16764"/>
                    </a:cubicBezTo>
                    <a:cubicBezTo>
                      <a:pt x="13526" y="17050"/>
                      <a:pt x="13526" y="17716"/>
                      <a:pt x="13526" y="17716"/>
                    </a:cubicBezTo>
                    <a:lnTo>
                      <a:pt x="13526" y="41339"/>
                    </a:lnTo>
                    <a:lnTo>
                      <a:pt x="13526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A32FDB4D-C1D6-4797-97AA-830106DC6D9A}"/>
                  </a:ext>
                </a:extLst>
              </p:cNvPr>
              <p:cNvSpPr/>
              <p:nvPr/>
            </p:nvSpPr>
            <p:spPr>
              <a:xfrm>
                <a:off x="9085818" y="5290284"/>
                <a:ext cx="49149" cy="79724"/>
              </a:xfrm>
              <a:custGeom>
                <a:avLst/>
                <a:gdLst>
                  <a:gd name="connsiteX0" fmla="*/ 35719 w 49149"/>
                  <a:gd name="connsiteY0" fmla="*/ 39338 h 79724"/>
                  <a:gd name="connsiteX1" fmla="*/ 35623 w 49149"/>
                  <a:gd name="connsiteY1" fmla="*/ 38671 h 79724"/>
                  <a:gd name="connsiteX2" fmla="*/ 31337 w 49149"/>
                  <a:gd name="connsiteY2" fmla="*/ 34290 h 79724"/>
                  <a:gd name="connsiteX3" fmla="*/ 30575 w 49149"/>
                  <a:gd name="connsiteY3" fmla="*/ 34195 h 79724"/>
                  <a:gd name="connsiteX4" fmla="*/ 21431 w 49149"/>
                  <a:gd name="connsiteY4" fmla="*/ 34195 h 79724"/>
                  <a:gd name="connsiteX5" fmla="*/ 13335 w 49149"/>
                  <a:gd name="connsiteY5" fmla="*/ 40196 h 79724"/>
                  <a:gd name="connsiteX6" fmla="*/ 13335 w 49149"/>
                  <a:gd name="connsiteY6" fmla="*/ 79724 h 79724"/>
                  <a:gd name="connsiteX7" fmla="*/ 0 w 49149"/>
                  <a:gd name="connsiteY7" fmla="*/ 79724 h 79724"/>
                  <a:gd name="connsiteX8" fmla="*/ 0 w 49149"/>
                  <a:gd name="connsiteY8" fmla="*/ 0 h 79724"/>
                  <a:gd name="connsiteX9" fmla="*/ 13335 w 49149"/>
                  <a:gd name="connsiteY9" fmla="*/ 0 h 79724"/>
                  <a:gd name="connsiteX10" fmla="*/ 13335 w 49149"/>
                  <a:gd name="connsiteY10" fmla="*/ 24670 h 79724"/>
                  <a:gd name="connsiteX11" fmla="*/ 21146 w 49149"/>
                  <a:gd name="connsiteY11" fmla="*/ 21431 h 79724"/>
                  <a:gd name="connsiteX12" fmla="*/ 30766 w 49149"/>
                  <a:gd name="connsiteY12" fmla="*/ 21431 h 79724"/>
                  <a:gd name="connsiteX13" fmla="*/ 40386 w 49149"/>
                  <a:gd name="connsiteY13" fmla="*/ 24384 h 79724"/>
                  <a:gd name="connsiteX14" fmla="*/ 46768 w 49149"/>
                  <a:gd name="connsiteY14" fmla="*/ 30861 h 79724"/>
                  <a:gd name="connsiteX15" fmla="*/ 49149 w 49149"/>
                  <a:gd name="connsiteY15" fmla="*/ 38957 h 79724"/>
                  <a:gd name="connsiteX16" fmla="*/ 49149 w 49149"/>
                  <a:gd name="connsiteY16" fmla="*/ 79629 h 79724"/>
                  <a:gd name="connsiteX17" fmla="*/ 35814 w 49149"/>
                  <a:gd name="connsiteY17" fmla="*/ 79629 h 79724"/>
                  <a:gd name="connsiteX18" fmla="*/ 35814 w 49149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149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146" y="21431"/>
                    </a:cubicBezTo>
                    <a:lnTo>
                      <a:pt x="30766" y="21431"/>
                    </a:lnTo>
                    <a:cubicBezTo>
                      <a:pt x="34004" y="21431"/>
                      <a:pt x="37814" y="22479"/>
                      <a:pt x="40386" y="24384"/>
                    </a:cubicBezTo>
                    <a:cubicBezTo>
                      <a:pt x="42481" y="25813"/>
                      <a:pt x="45720" y="29432"/>
                      <a:pt x="46768" y="30861"/>
                    </a:cubicBezTo>
                    <a:cubicBezTo>
                      <a:pt x="48482" y="33433"/>
                      <a:pt x="49149" y="36100"/>
                      <a:pt x="49149" y="38957"/>
                    </a:cubicBezTo>
                    <a:lnTo>
                      <a:pt x="49149" y="79629"/>
                    </a:lnTo>
                    <a:lnTo>
                      <a:pt x="35814" y="79629"/>
                    </a:lnTo>
                    <a:lnTo>
                      <a:pt x="35814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FBE52353-1765-4524-B97B-FA55D6597FE4}"/>
                  </a:ext>
                </a:extLst>
              </p:cNvPr>
              <p:cNvSpPr/>
              <p:nvPr/>
            </p:nvSpPr>
            <p:spPr>
              <a:xfrm>
                <a:off x="9151350" y="5311716"/>
                <a:ext cx="50578" cy="58674"/>
              </a:xfrm>
              <a:custGeom>
                <a:avLst/>
                <a:gdLst>
                  <a:gd name="connsiteX0" fmla="*/ 17621 w 50577"/>
                  <a:gd name="connsiteY0" fmla="*/ 46291 h 58673"/>
                  <a:gd name="connsiteX1" fmla="*/ 32290 w 50577"/>
                  <a:gd name="connsiteY1" fmla="*/ 46291 h 58673"/>
                  <a:gd name="connsiteX2" fmla="*/ 37052 w 50577"/>
                  <a:gd name="connsiteY2" fmla="*/ 41529 h 58673"/>
                  <a:gd name="connsiteX3" fmla="*/ 37052 w 50577"/>
                  <a:gd name="connsiteY3" fmla="*/ 38290 h 58673"/>
                  <a:gd name="connsiteX4" fmla="*/ 35338 w 50577"/>
                  <a:gd name="connsiteY4" fmla="*/ 36385 h 58673"/>
                  <a:gd name="connsiteX5" fmla="*/ 13526 w 50577"/>
                  <a:gd name="connsiteY5" fmla="*/ 34671 h 58673"/>
                  <a:gd name="connsiteX6" fmla="*/ 1048 w 50577"/>
                  <a:gd name="connsiteY6" fmla="*/ 21050 h 58673"/>
                  <a:gd name="connsiteX7" fmla="*/ 1048 w 50577"/>
                  <a:gd name="connsiteY7" fmla="*/ 17050 h 58673"/>
                  <a:gd name="connsiteX8" fmla="*/ 3429 w 50577"/>
                  <a:gd name="connsiteY8" fmla="*/ 8954 h 58673"/>
                  <a:gd name="connsiteX9" fmla="*/ 18860 w 50577"/>
                  <a:gd name="connsiteY9" fmla="*/ 0 h 58673"/>
                  <a:gd name="connsiteX10" fmla="*/ 31623 w 50577"/>
                  <a:gd name="connsiteY10" fmla="*/ 0 h 58673"/>
                  <a:gd name="connsiteX11" fmla="*/ 41243 w 50577"/>
                  <a:gd name="connsiteY11" fmla="*/ 3048 h 58673"/>
                  <a:gd name="connsiteX12" fmla="*/ 49911 w 50577"/>
                  <a:gd name="connsiteY12" fmla="*/ 12859 h 58673"/>
                  <a:gd name="connsiteX13" fmla="*/ 37338 w 50577"/>
                  <a:gd name="connsiteY13" fmla="*/ 16573 h 58673"/>
                  <a:gd name="connsiteX14" fmla="*/ 36957 w 50577"/>
                  <a:gd name="connsiteY14" fmla="*/ 16002 h 58673"/>
                  <a:gd name="connsiteX15" fmla="*/ 32004 w 50577"/>
                  <a:gd name="connsiteY15" fmla="*/ 12573 h 58673"/>
                  <a:gd name="connsiteX16" fmla="*/ 19241 w 50577"/>
                  <a:gd name="connsiteY16" fmla="*/ 12573 h 58673"/>
                  <a:gd name="connsiteX17" fmla="*/ 17526 w 50577"/>
                  <a:gd name="connsiteY17" fmla="*/ 12859 h 58673"/>
                  <a:gd name="connsiteX18" fmla="*/ 14478 w 50577"/>
                  <a:gd name="connsiteY18" fmla="*/ 15907 h 58673"/>
                  <a:gd name="connsiteX19" fmla="*/ 14383 w 50577"/>
                  <a:gd name="connsiteY19" fmla="*/ 17240 h 58673"/>
                  <a:gd name="connsiteX20" fmla="*/ 14383 w 50577"/>
                  <a:gd name="connsiteY20" fmla="*/ 20383 h 58673"/>
                  <a:gd name="connsiteX21" fmla="*/ 16383 w 50577"/>
                  <a:gd name="connsiteY21" fmla="*/ 22098 h 58673"/>
                  <a:gd name="connsiteX22" fmla="*/ 37338 w 50577"/>
                  <a:gd name="connsiteY22" fmla="*/ 24098 h 58673"/>
                  <a:gd name="connsiteX23" fmla="*/ 50578 w 50577"/>
                  <a:gd name="connsiteY23" fmla="*/ 37814 h 58673"/>
                  <a:gd name="connsiteX24" fmla="*/ 50578 w 50577"/>
                  <a:gd name="connsiteY24" fmla="*/ 41529 h 58673"/>
                  <a:gd name="connsiteX25" fmla="*/ 48006 w 50577"/>
                  <a:gd name="connsiteY25" fmla="*/ 49625 h 58673"/>
                  <a:gd name="connsiteX26" fmla="*/ 42005 w 50577"/>
                  <a:gd name="connsiteY26" fmla="*/ 55721 h 58673"/>
                  <a:gd name="connsiteX27" fmla="*/ 32576 w 50577"/>
                  <a:gd name="connsiteY27" fmla="*/ 58674 h 58673"/>
                  <a:gd name="connsiteX28" fmla="*/ 18193 w 50577"/>
                  <a:gd name="connsiteY28" fmla="*/ 58674 h 58673"/>
                  <a:gd name="connsiteX29" fmla="*/ 8573 w 50577"/>
                  <a:gd name="connsiteY29" fmla="*/ 55435 h 58673"/>
                  <a:gd name="connsiteX30" fmla="*/ 0 w 50577"/>
                  <a:gd name="connsiteY30" fmla="*/ 45625 h 58673"/>
                  <a:gd name="connsiteX31" fmla="*/ 12383 w 50577"/>
                  <a:gd name="connsiteY31" fmla="*/ 41910 h 58673"/>
                  <a:gd name="connsiteX32" fmla="*/ 12764 w 50577"/>
                  <a:gd name="connsiteY32" fmla="*/ 42482 h 58673"/>
                  <a:gd name="connsiteX33" fmla="*/ 17717 w 50577"/>
                  <a:gd name="connsiteY33" fmla="*/ 46101 h 58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0577" h="58673">
                    <a:moveTo>
                      <a:pt x="17621" y="46291"/>
                    </a:moveTo>
                    <a:lnTo>
                      <a:pt x="32290" y="46291"/>
                    </a:lnTo>
                    <a:cubicBezTo>
                      <a:pt x="33909" y="46291"/>
                      <a:pt x="37052" y="43339"/>
                      <a:pt x="37052" y="41529"/>
                    </a:cubicBezTo>
                    <a:lnTo>
                      <a:pt x="37052" y="38290"/>
                    </a:lnTo>
                    <a:cubicBezTo>
                      <a:pt x="37052" y="37624"/>
                      <a:pt x="36767" y="36576"/>
                      <a:pt x="35338" y="36385"/>
                    </a:cubicBezTo>
                    <a:cubicBezTo>
                      <a:pt x="30671" y="36004"/>
                      <a:pt x="21050" y="35338"/>
                      <a:pt x="13526" y="34671"/>
                    </a:cubicBezTo>
                    <a:cubicBezTo>
                      <a:pt x="6477" y="34100"/>
                      <a:pt x="1048" y="29623"/>
                      <a:pt x="1048" y="21050"/>
                    </a:cubicBezTo>
                    <a:lnTo>
                      <a:pt x="1048" y="17050"/>
                    </a:lnTo>
                    <a:cubicBezTo>
                      <a:pt x="1048" y="14097"/>
                      <a:pt x="1715" y="11335"/>
                      <a:pt x="3429" y="8954"/>
                    </a:cubicBezTo>
                    <a:cubicBezTo>
                      <a:pt x="7144" y="3619"/>
                      <a:pt x="12192" y="0"/>
                      <a:pt x="18860" y="0"/>
                    </a:cubicBezTo>
                    <a:lnTo>
                      <a:pt x="31623" y="0"/>
                    </a:lnTo>
                    <a:cubicBezTo>
                      <a:pt x="34766" y="0"/>
                      <a:pt x="38672" y="1333"/>
                      <a:pt x="41243" y="3048"/>
                    </a:cubicBezTo>
                    <a:cubicBezTo>
                      <a:pt x="43339" y="4477"/>
                      <a:pt x="48578" y="9716"/>
                      <a:pt x="49911" y="12859"/>
                    </a:cubicBezTo>
                    <a:lnTo>
                      <a:pt x="37338" y="16573"/>
                    </a:lnTo>
                    <a:cubicBezTo>
                      <a:pt x="37338" y="16573"/>
                      <a:pt x="37243" y="16288"/>
                      <a:pt x="36957" y="16002"/>
                    </a:cubicBezTo>
                    <a:cubicBezTo>
                      <a:pt x="36195" y="15049"/>
                      <a:pt x="33338" y="12573"/>
                      <a:pt x="32004" y="12573"/>
                    </a:cubicBezTo>
                    <a:lnTo>
                      <a:pt x="19241" y="12573"/>
                    </a:lnTo>
                    <a:cubicBezTo>
                      <a:pt x="19241" y="12573"/>
                      <a:pt x="18002" y="12573"/>
                      <a:pt x="17526" y="12859"/>
                    </a:cubicBezTo>
                    <a:cubicBezTo>
                      <a:pt x="16955" y="13145"/>
                      <a:pt x="15240" y="14478"/>
                      <a:pt x="14478" y="15907"/>
                    </a:cubicBezTo>
                    <a:cubicBezTo>
                      <a:pt x="14478" y="15907"/>
                      <a:pt x="14383" y="16192"/>
                      <a:pt x="14383" y="17240"/>
                    </a:cubicBezTo>
                    <a:lnTo>
                      <a:pt x="14383" y="20383"/>
                    </a:lnTo>
                    <a:cubicBezTo>
                      <a:pt x="14383" y="20383"/>
                      <a:pt x="15050" y="22003"/>
                      <a:pt x="16383" y="22098"/>
                    </a:cubicBezTo>
                    <a:cubicBezTo>
                      <a:pt x="19812" y="22479"/>
                      <a:pt x="30004" y="23336"/>
                      <a:pt x="37338" y="24098"/>
                    </a:cubicBezTo>
                    <a:cubicBezTo>
                      <a:pt x="44482" y="24860"/>
                      <a:pt x="50578" y="29051"/>
                      <a:pt x="50578" y="37814"/>
                    </a:cubicBezTo>
                    <a:lnTo>
                      <a:pt x="50578" y="41529"/>
                    </a:lnTo>
                    <a:cubicBezTo>
                      <a:pt x="50578" y="44482"/>
                      <a:pt x="49816" y="47244"/>
                      <a:pt x="48006" y="49625"/>
                    </a:cubicBezTo>
                    <a:cubicBezTo>
                      <a:pt x="46958" y="51245"/>
                      <a:pt x="44196" y="54293"/>
                      <a:pt x="42005" y="55721"/>
                    </a:cubicBezTo>
                    <a:cubicBezTo>
                      <a:pt x="39338" y="57626"/>
                      <a:pt x="35909" y="58674"/>
                      <a:pt x="32576" y="58674"/>
                    </a:cubicBezTo>
                    <a:lnTo>
                      <a:pt x="18193" y="58674"/>
                    </a:lnTo>
                    <a:cubicBezTo>
                      <a:pt x="15050" y="58674"/>
                      <a:pt x="11144" y="57245"/>
                      <a:pt x="8573" y="55435"/>
                    </a:cubicBezTo>
                    <a:cubicBezTo>
                      <a:pt x="6477" y="54007"/>
                      <a:pt x="1429" y="48768"/>
                      <a:pt x="0" y="45625"/>
                    </a:cubicBezTo>
                    <a:lnTo>
                      <a:pt x="12383" y="41910"/>
                    </a:lnTo>
                    <a:lnTo>
                      <a:pt x="12764" y="42482"/>
                    </a:lnTo>
                    <a:cubicBezTo>
                      <a:pt x="13621" y="43434"/>
                      <a:pt x="16383" y="46006"/>
                      <a:pt x="17717" y="46101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03730D9-24B5-4A25-9141-DC144CEE1A48}"/>
                  </a:ext>
                </a:extLst>
              </p:cNvPr>
              <p:cNvSpPr/>
              <p:nvPr/>
            </p:nvSpPr>
            <p:spPr>
              <a:xfrm>
                <a:off x="9216406" y="5311716"/>
                <a:ext cx="49434" cy="58865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9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9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481 w 49434"/>
                  <a:gd name="connsiteY21" fmla="*/ 16954 h 58864"/>
                  <a:gd name="connsiteX22" fmla="*/ 36100 w 49434"/>
                  <a:gd name="connsiteY22" fmla="*/ 16383 h 58864"/>
                  <a:gd name="connsiteX23" fmla="*/ 31147 w 49434"/>
                  <a:gd name="connsiteY23" fmla="*/ 12668 h 58864"/>
                  <a:gd name="connsiteX24" fmla="*/ 18574 w 49434"/>
                  <a:gd name="connsiteY24" fmla="*/ 12668 h 58864"/>
                  <a:gd name="connsiteX25" fmla="*/ 17812 w 49434"/>
                  <a:gd name="connsiteY25" fmla="*/ 12764 h 58864"/>
                  <a:gd name="connsiteX26" fmla="*/ 13430 w 49434"/>
                  <a:gd name="connsiteY26" fmla="*/ 16764 h 58864"/>
                  <a:gd name="connsiteX27" fmla="*/ 13335 w 49434"/>
                  <a:gd name="connsiteY27" fmla="*/ 17716 h 58864"/>
                  <a:gd name="connsiteX28" fmla="*/ 13335 w 49434"/>
                  <a:gd name="connsiteY28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9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479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1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1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9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481" y="16954"/>
                    </a:lnTo>
                    <a:cubicBezTo>
                      <a:pt x="36481" y="16954"/>
                      <a:pt x="36385" y="16669"/>
                      <a:pt x="36100" y="16383"/>
                    </a:cubicBezTo>
                    <a:cubicBezTo>
                      <a:pt x="35338" y="15430"/>
                      <a:pt x="32480" y="12668"/>
                      <a:pt x="31147" y="12668"/>
                    </a:cubicBezTo>
                    <a:lnTo>
                      <a:pt x="18574" y="12668"/>
                    </a:lnTo>
                    <a:cubicBezTo>
                      <a:pt x="18574" y="12668"/>
                      <a:pt x="18002" y="12668"/>
                      <a:pt x="17812" y="12764"/>
                    </a:cubicBezTo>
                    <a:cubicBezTo>
                      <a:pt x="16193" y="13716"/>
                      <a:pt x="14383" y="15145"/>
                      <a:pt x="13430" y="16764"/>
                    </a:cubicBezTo>
                    <a:cubicBezTo>
                      <a:pt x="13335" y="17050"/>
                      <a:pt x="13335" y="17716"/>
                      <a:pt x="13335" y="17716"/>
                    </a:cubicBezTo>
                    <a:lnTo>
                      <a:pt x="13335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4C0EB79D-55CF-45F2-9470-FA365A29AFFB}"/>
                  </a:ext>
                </a:extLst>
              </p:cNvPr>
              <p:cNvSpPr/>
              <p:nvPr/>
            </p:nvSpPr>
            <p:spPr>
              <a:xfrm>
                <a:off x="9280128" y="5290284"/>
                <a:ext cx="49244" cy="79724"/>
              </a:xfrm>
              <a:custGeom>
                <a:avLst/>
                <a:gdLst>
                  <a:gd name="connsiteX0" fmla="*/ 35719 w 49244"/>
                  <a:gd name="connsiteY0" fmla="*/ 39338 h 79724"/>
                  <a:gd name="connsiteX1" fmla="*/ 35623 w 49244"/>
                  <a:gd name="connsiteY1" fmla="*/ 38671 h 79724"/>
                  <a:gd name="connsiteX2" fmla="*/ 31337 w 49244"/>
                  <a:gd name="connsiteY2" fmla="*/ 34290 h 79724"/>
                  <a:gd name="connsiteX3" fmla="*/ 30575 w 49244"/>
                  <a:gd name="connsiteY3" fmla="*/ 34195 h 79724"/>
                  <a:gd name="connsiteX4" fmla="*/ 21431 w 49244"/>
                  <a:gd name="connsiteY4" fmla="*/ 34195 h 79724"/>
                  <a:gd name="connsiteX5" fmla="*/ 13335 w 49244"/>
                  <a:gd name="connsiteY5" fmla="*/ 40196 h 79724"/>
                  <a:gd name="connsiteX6" fmla="*/ 13335 w 49244"/>
                  <a:gd name="connsiteY6" fmla="*/ 79724 h 79724"/>
                  <a:gd name="connsiteX7" fmla="*/ 0 w 49244"/>
                  <a:gd name="connsiteY7" fmla="*/ 79724 h 79724"/>
                  <a:gd name="connsiteX8" fmla="*/ 0 w 49244"/>
                  <a:gd name="connsiteY8" fmla="*/ 0 h 79724"/>
                  <a:gd name="connsiteX9" fmla="*/ 13335 w 49244"/>
                  <a:gd name="connsiteY9" fmla="*/ 0 h 79724"/>
                  <a:gd name="connsiteX10" fmla="*/ 13335 w 49244"/>
                  <a:gd name="connsiteY10" fmla="*/ 24670 h 79724"/>
                  <a:gd name="connsiteX11" fmla="*/ 21241 w 49244"/>
                  <a:gd name="connsiteY11" fmla="*/ 21431 h 79724"/>
                  <a:gd name="connsiteX12" fmla="*/ 30861 w 49244"/>
                  <a:gd name="connsiteY12" fmla="*/ 21431 h 79724"/>
                  <a:gd name="connsiteX13" fmla="*/ 40481 w 49244"/>
                  <a:gd name="connsiteY13" fmla="*/ 24384 h 79724"/>
                  <a:gd name="connsiteX14" fmla="*/ 46863 w 49244"/>
                  <a:gd name="connsiteY14" fmla="*/ 30861 h 79724"/>
                  <a:gd name="connsiteX15" fmla="*/ 49244 w 49244"/>
                  <a:gd name="connsiteY15" fmla="*/ 38957 h 79724"/>
                  <a:gd name="connsiteX16" fmla="*/ 49244 w 49244"/>
                  <a:gd name="connsiteY16" fmla="*/ 79629 h 79724"/>
                  <a:gd name="connsiteX17" fmla="*/ 35909 w 49244"/>
                  <a:gd name="connsiteY17" fmla="*/ 79629 h 79724"/>
                  <a:gd name="connsiteX18" fmla="*/ 35909 w 49244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244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241" y="21431"/>
                    </a:cubicBezTo>
                    <a:lnTo>
                      <a:pt x="30861" y="21431"/>
                    </a:lnTo>
                    <a:cubicBezTo>
                      <a:pt x="34100" y="21431"/>
                      <a:pt x="37909" y="22479"/>
                      <a:pt x="40481" y="24384"/>
                    </a:cubicBezTo>
                    <a:cubicBezTo>
                      <a:pt x="42577" y="25813"/>
                      <a:pt x="45815" y="29432"/>
                      <a:pt x="46863" y="30861"/>
                    </a:cubicBezTo>
                    <a:cubicBezTo>
                      <a:pt x="48577" y="33433"/>
                      <a:pt x="49244" y="36100"/>
                      <a:pt x="49244" y="38957"/>
                    </a:cubicBezTo>
                    <a:lnTo>
                      <a:pt x="49244" y="79629"/>
                    </a:lnTo>
                    <a:lnTo>
                      <a:pt x="35909" y="79629"/>
                    </a:lnTo>
                    <a:lnTo>
                      <a:pt x="35909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A9085C56-2253-41C6-8BC2-1921FA1762B9}"/>
                  </a:ext>
                </a:extLst>
              </p:cNvPr>
              <p:cNvSpPr/>
              <p:nvPr/>
            </p:nvSpPr>
            <p:spPr>
              <a:xfrm>
                <a:off x="9346614" y="5312478"/>
                <a:ext cx="50482" cy="58103"/>
              </a:xfrm>
              <a:custGeom>
                <a:avLst/>
                <a:gdLst>
                  <a:gd name="connsiteX0" fmla="*/ 37243 w 50482"/>
                  <a:gd name="connsiteY0" fmla="*/ 57531 h 58102"/>
                  <a:gd name="connsiteX1" fmla="*/ 36862 w 50482"/>
                  <a:gd name="connsiteY1" fmla="*/ 54197 h 58102"/>
                  <a:gd name="connsiteX2" fmla="*/ 28480 w 50482"/>
                  <a:gd name="connsiteY2" fmla="*/ 58103 h 58102"/>
                  <a:gd name="connsiteX3" fmla="*/ 18479 w 50482"/>
                  <a:gd name="connsiteY3" fmla="*/ 58103 h 58102"/>
                  <a:gd name="connsiteX4" fmla="*/ 8763 w 50482"/>
                  <a:gd name="connsiteY4" fmla="*/ 55340 h 58102"/>
                  <a:gd name="connsiteX5" fmla="*/ 2381 w 50482"/>
                  <a:gd name="connsiteY5" fmla="*/ 48768 h 58102"/>
                  <a:gd name="connsiteX6" fmla="*/ 0 w 50482"/>
                  <a:gd name="connsiteY6" fmla="*/ 40672 h 58102"/>
                  <a:gd name="connsiteX7" fmla="*/ 0 w 50482"/>
                  <a:gd name="connsiteY7" fmla="*/ 0 h 58102"/>
                  <a:gd name="connsiteX8" fmla="*/ 13335 w 50482"/>
                  <a:gd name="connsiteY8" fmla="*/ 0 h 58102"/>
                  <a:gd name="connsiteX9" fmla="*/ 13335 w 50482"/>
                  <a:gd name="connsiteY9" fmla="*/ 40386 h 58102"/>
                  <a:gd name="connsiteX10" fmla="*/ 13430 w 50482"/>
                  <a:gd name="connsiteY10" fmla="*/ 41339 h 58102"/>
                  <a:gd name="connsiteX11" fmla="*/ 17812 w 50482"/>
                  <a:gd name="connsiteY11" fmla="*/ 45339 h 58102"/>
                  <a:gd name="connsiteX12" fmla="*/ 18574 w 50482"/>
                  <a:gd name="connsiteY12" fmla="*/ 45434 h 58102"/>
                  <a:gd name="connsiteX13" fmla="*/ 28004 w 50482"/>
                  <a:gd name="connsiteY13" fmla="*/ 45434 h 58102"/>
                  <a:gd name="connsiteX14" fmla="*/ 35909 w 50482"/>
                  <a:gd name="connsiteY14" fmla="*/ 40100 h 58102"/>
                  <a:gd name="connsiteX15" fmla="*/ 35909 w 50482"/>
                  <a:gd name="connsiteY15" fmla="*/ 0 h 58102"/>
                  <a:gd name="connsiteX16" fmla="*/ 49244 w 50482"/>
                  <a:gd name="connsiteY16" fmla="*/ 0 h 58102"/>
                  <a:gd name="connsiteX17" fmla="*/ 49244 w 50482"/>
                  <a:gd name="connsiteY17" fmla="*/ 45720 h 58102"/>
                  <a:gd name="connsiteX18" fmla="*/ 50483 w 50482"/>
                  <a:gd name="connsiteY18" fmla="*/ 57531 h 58102"/>
                  <a:gd name="connsiteX19" fmla="*/ 37338 w 50482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1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476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192" y="42767"/>
                      <a:pt x="16383" y="44387"/>
                      <a:pt x="17812" y="45339"/>
                    </a:cubicBezTo>
                    <a:cubicBezTo>
                      <a:pt x="18098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909" y="40100"/>
                    </a:cubicBezTo>
                    <a:lnTo>
                      <a:pt x="35909" y="0"/>
                    </a:lnTo>
                    <a:lnTo>
                      <a:pt x="49244" y="0"/>
                    </a:lnTo>
                    <a:lnTo>
                      <a:pt x="49244" y="45720"/>
                    </a:lnTo>
                    <a:lnTo>
                      <a:pt x="50483" y="57531"/>
                    </a:lnTo>
                    <a:lnTo>
                      <a:pt x="37338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035918F9-84E4-4ACC-970C-9702CFB8CFF0}"/>
                  </a:ext>
                </a:extLst>
              </p:cNvPr>
              <p:cNvSpPr/>
              <p:nvPr/>
            </p:nvSpPr>
            <p:spPr>
              <a:xfrm>
                <a:off x="9414623" y="5290284"/>
                <a:ext cx="14573" cy="79724"/>
              </a:xfrm>
              <a:custGeom>
                <a:avLst/>
                <a:gdLst>
                  <a:gd name="connsiteX0" fmla="*/ 1334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334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4" y="79724"/>
                    </a:moveTo>
                    <a:cubicBezTo>
                      <a:pt x="953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334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2C65D3CE-2E56-4623-83A3-DFF16D6D74DA}"/>
                  </a:ext>
                </a:extLst>
              </p:cNvPr>
              <p:cNvSpPr/>
              <p:nvPr/>
            </p:nvSpPr>
            <p:spPr>
              <a:xfrm>
                <a:off x="9448151" y="5311811"/>
                <a:ext cx="49434" cy="58865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956 w 49434"/>
                  <a:gd name="connsiteY27" fmla="*/ 12763 h 58864"/>
                  <a:gd name="connsiteX28" fmla="*/ 18859 w 49434"/>
                  <a:gd name="connsiteY28" fmla="*/ 12763 h 58864"/>
                  <a:gd name="connsiteX29" fmla="*/ 13621 w 49434"/>
                  <a:gd name="connsiteY29" fmla="*/ 17050 h 58864"/>
                  <a:gd name="connsiteX30" fmla="*/ 13525 w 49434"/>
                  <a:gd name="connsiteY30" fmla="*/ 17812 h 58864"/>
                  <a:gd name="connsiteX31" fmla="*/ 13525 w 49434"/>
                  <a:gd name="connsiteY31" fmla="*/ 23813 h 58864"/>
                  <a:gd name="connsiteX32" fmla="*/ 36290 w 49434"/>
                  <a:gd name="connsiteY32" fmla="*/ 23813 h 58864"/>
                  <a:gd name="connsiteX33" fmla="*/ 36290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0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338" y="15621"/>
                      <a:pt x="33338" y="13716"/>
                      <a:pt x="31718" y="12859"/>
                    </a:cubicBezTo>
                    <a:cubicBezTo>
                      <a:pt x="31432" y="12763"/>
                      <a:pt x="31147" y="12763"/>
                      <a:pt x="30956" y="12763"/>
                    </a:cubicBezTo>
                    <a:lnTo>
                      <a:pt x="18859" y="12763"/>
                    </a:lnTo>
                    <a:cubicBezTo>
                      <a:pt x="17526" y="12763"/>
                      <a:pt x="14859" y="15050"/>
                      <a:pt x="13621" y="17050"/>
                    </a:cubicBezTo>
                    <a:cubicBezTo>
                      <a:pt x="13525" y="17336"/>
                      <a:pt x="13525" y="17812"/>
                      <a:pt x="13525" y="17812"/>
                    </a:cubicBezTo>
                    <a:lnTo>
                      <a:pt x="13525" y="23813"/>
                    </a:lnTo>
                    <a:lnTo>
                      <a:pt x="36290" y="23813"/>
                    </a:lnTo>
                    <a:lnTo>
                      <a:pt x="36290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41A1801F-49B7-4840-8927-CBFCC18D5E6A}"/>
                  </a:ext>
                </a:extLst>
              </p:cNvPr>
              <p:cNvSpPr/>
              <p:nvPr/>
            </p:nvSpPr>
            <p:spPr>
              <a:xfrm>
                <a:off x="9549116" y="5290475"/>
                <a:ext cx="61150" cy="79534"/>
              </a:xfrm>
              <a:custGeom>
                <a:avLst/>
                <a:gdLst>
                  <a:gd name="connsiteX0" fmla="*/ 44672 w 61150"/>
                  <a:gd name="connsiteY0" fmla="*/ 79534 h 79533"/>
                  <a:gd name="connsiteX1" fmla="*/ 26765 w 61150"/>
                  <a:gd name="connsiteY1" fmla="*/ 47911 h 79533"/>
                  <a:gd name="connsiteX2" fmla="*/ 14002 w 61150"/>
                  <a:gd name="connsiteY2" fmla="*/ 47911 h 79533"/>
                  <a:gd name="connsiteX3" fmla="*/ 14002 w 61150"/>
                  <a:gd name="connsiteY3" fmla="*/ 79534 h 79533"/>
                  <a:gd name="connsiteX4" fmla="*/ 0 w 61150"/>
                  <a:gd name="connsiteY4" fmla="*/ 79534 h 79533"/>
                  <a:gd name="connsiteX5" fmla="*/ 0 w 61150"/>
                  <a:gd name="connsiteY5" fmla="*/ 0 h 79533"/>
                  <a:gd name="connsiteX6" fmla="*/ 37433 w 61150"/>
                  <a:gd name="connsiteY6" fmla="*/ 0 h 79533"/>
                  <a:gd name="connsiteX7" fmla="*/ 47054 w 61150"/>
                  <a:gd name="connsiteY7" fmla="*/ 2953 h 79533"/>
                  <a:gd name="connsiteX8" fmla="*/ 54102 w 61150"/>
                  <a:gd name="connsiteY8" fmla="*/ 10287 h 79533"/>
                  <a:gd name="connsiteX9" fmla="*/ 56483 w 61150"/>
                  <a:gd name="connsiteY9" fmla="*/ 18383 h 79533"/>
                  <a:gd name="connsiteX10" fmla="*/ 56483 w 61150"/>
                  <a:gd name="connsiteY10" fmla="*/ 29813 h 79533"/>
                  <a:gd name="connsiteX11" fmla="*/ 54102 w 61150"/>
                  <a:gd name="connsiteY11" fmla="*/ 37910 h 79533"/>
                  <a:gd name="connsiteX12" fmla="*/ 47054 w 61150"/>
                  <a:gd name="connsiteY12" fmla="*/ 44958 h 79533"/>
                  <a:gd name="connsiteX13" fmla="*/ 42100 w 61150"/>
                  <a:gd name="connsiteY13" fmla="*/ 46958 h 79533"/>
                  <a:gd name="connsiteX14" fmla="*/ 61150 w 61150"/>
                  <a:gd name="connsiteY14" fmla="*/ 79439 h 79533"/>
                  <a:gd name="connsiteX15" fmla="*/ 44672 w 61150"/>
                  <a:gd name="connsiteY15" fmla="*/ 79439 h 79533"/>
                  <a:gd name="connsiteX16" fmla="*/ 42481 w 61150"/>
                  <a:gd name="connsiteY16" fmla="*/ 18479 h 79533"/>
                  <a:gd name="connsiteX17" fmla="*/ 42386 w 61150"/>
                  <a:gd name="connsiteY17" fmla="*/ 17526 h 79533"/>
                  <a:gd name="connsiteX18" fmla="*/ 38100 w 61150"/>
                  <a:gd name="connsiteY18" fmla="*/ 13240 h 79533"/>
                  <a:gd name="connsiteX19" fmla="*/ 14002 w 61150"/>
                  <a:gd name="connsiteY19" fmla="*/ 13240 h 79533"/>
                  <a:gd name="connsiteX20" fmla="*/ 14002 w 61150"/>
                  <a:gd name="connsiteY20" fmla="*/ 34576 h 79533"/>
                  <a:gd name="connsiteX21" fmla="*/ 37433 w 61150"/>
                  <a:gd name="connsiteY21" fmla="*/ 34576 h 79533"/>
                  <a:gd name="connsiteX22" fmla="*/ 42386 w 61150"/>
                  <a:gd name="connsiteY22" fmla="*/ 30004 h 79533"/>
                  <a:gd name="connsiteX23" fmla="*/ 42481 w 61150"/>
                  <a:gd name="connsiteY23" fmla="*/ 29432 h 79533"/>
                  <a:gd name="connsiteX24" fmla="*/ 42481 w 61150"/>
                  <a:gd name="connsiteY24" fmla="*/ 18383 h 79533"/>
                  <a:gd name="connsiteX25" fmla="*/ 42481 w 61150"/>
                  <a:gd name="connsiteY25" fmla="*/ 18383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1150" h="79533">
                    <a:moveTo>
                      <a:pt x="44672" y="79534"/>
                    </a:moveTo>
                    <a:lnTo>
                      <a:pt x="26765" y="47911"/>
                    </a:lnTo>
                    <a:lnTo>
                      <a:pt x="14002" y="47911"/>
                    </a:lnTo>
                    <a:lnTo>
                      <a:pt x="14002" y="79534"/>
                    </a:lnTo>
                    <a:lnTo>
                      <a:pt x="0" y="79534"/>
                    </a:lnTo>
                    <a:lnTo>
                      <a:pt x="0" y="0"/>
                    </a:lnTo>
                    <a:lnTo>
                      <a:pt x="37433" y="0"/>
                    </a:lnTo>
                    <a:cubicBezTo>
                      <a:pt x="40672" y="0"/>
                      <a:pt x="44387" y="1048"/>
                      <a:pt x="47054" y="2953"/>
                    </a:cubicBezTo>
                    <a:cubicBezTo>
                      <a:pt x="48863" y="4286"/>
                      <a:pt x="52864" y="8573"/>
                      <a:pt x="54102" y="10287"/>
                    </a:cubicBezTo>
                    <a:cubicBezTo>
                      <a:pt x="55721" y="12668"/>
                      <a:pt x="56483" y="15621"/>
                      <a:pt x="56483" y="18383"/>
                    </a:cubicBezTo>
                    <a:lnTo>
                      <a:pt x="56483" y="29813"/>
                    </a:lnTo>
                    <a:cubicBezTo>
                      <a:pt x="56483" y="32766"/>
                      <a:pt x="55721" y="35528"/>
                      <a:pt x="54102" y="37910"/>
                    </a:cubicBezTo>
                    <a:cubicBezTo>
                      <a:pt x="52864" y="39624"/>
                      <a:pt x="48863" y="43624"/>
                      <a:pt x="47054" y="44958"/>
                    </a:cubicBezTo>
                    <a:cubicBezTo>
                      <a:pt x="46006" y="45720"/>
                      <a:pt x="43720" y="46673"/>
                      <a:pt x="42100" y="46958"/>
                    </a:cubicBezTo>
                    <a:lnTo>
                      <a:pt x="61150" y="79439"/>
                    </a:lnTo>
                    <a:lnTo>
                      <a:pt x="44672" y="79439"/>
                    </a:lnTo>
                    <a:close/>
                    <a:moveTo>
                      <a:pt x="42481" y="18479"/>
                    </a:moveTo>
                    <a:cubicBezTo>
                      <a:pt x="42481" y="18479"/>
                      <a:pt x="42481" y="17716"/>
                      <a:pt x="42386" y="17526"/>
                    </a:cubicBezTo>
                    <a:cubicBezTo>
                      <a:pt x="41624" y="16097"/>
                      <a:pt x="39433" y="13430"/>
                      <a:pt x="38100" y="13240"/>
                    </a:cubicBezTo>
                    <a:lnTo>
                      <a:pt x="14002" y="13240"/>
                    </a:lnTo>
                    <a:lnTo>
                      <a:pt x="14002" y="34576"/>
                    </a:lnTo>
                    <a:lnTo>
                      <a:pt x="37433" y="34576"/>
                    </a:lnTo>
                    <a:cubicBezTo>
                      <a:pt x="38671" y="34576"/>
                      <a:pt x="41339" y="31909"/>
                      <a:pt x="42386" y="30004"/>
                    </a:cubicBezTo>
                    <a:cubicBezTo>
                      <a:pt x="42386" y="30004"/>
                      <a:pt x="42481" y="29718"/>
                      <a:pt x="42481" y="29432"/>
                    </a:cubicBezTo>
                    <a:lnTo>
                      <a:pt x="42481" y="18383"/>
                    </a:lnTo>
                    <a:lnTo>
                      <a:pt x="42481" y="18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C6104488-F1A0-43FA-96CF-9DF521963F7F}"/>
                  </a:ext>
                </a:extLst>
              </p:cNvPr>
              <p:cNvSpPr/>
              <p:nvPr/>
            </p:nvSpPr>
            <p:spPr>
              <a:xfrm>
                <a:off x="9625317" y="5311811"/>
                <a:ext cx="49434" cy="58865"/>
              </a:xfrm>
              <a:custGeom>
                <a:avLst/>
                <a:gdLst>
                  <a:gd name="connsiteX0" fmla="*/ 13525 w 49434"/>
                  <a:gd name="connsiteY0" fmla="*/ 36195 h 58864"/>
                  <a:gd name="connsiteX1" fmla="*/ 13525 w 49434"/>
                  <a:gd name="connsiteY1" fmla="*/ 41243 h 58864"/>
                  <a:gd name="connsiteX2" fmla="*/ 13621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290 w 49434"/>
                  <a:gd name="connsiteY24" fmla="*/ 17717 h 58864"/>
                  <a:gd name="connsiteX25" fmla="*/ 36195 w 49434"/>
                  <a:gd name="connsiteY25" fmla="*/ 16955 h 58864"/>
                  <a:gd name="connsiteX26" fmla="*/ 31814 w 49434"/>
                  <a:gd name="connsiteY26" fmla="*/ 12859 h 58864"/>
                  <a:gd name="connsiteX27" fmla="*/ 31052 w 49434"/>
                  <a:gd name="connsiteY27" fmla="*/ 12763 h 58864"/>
                  <a:gd name="connsiteX28" fmla="*/ 18955 w 49434"/>
                  <a:gd name="connsiteY28" fmla="*/ 12763 h 58864"/>
                  <a:gd name="connsiteX29" fmla="*/ 13811 w 49434"/>
                  <a:gd name="connsiteY29" fmla="*/ 17050 h 58864"/>
                  <a:gd name="connsiteX30" fmla="*/ 13716 w 49434"/>
                  <a:gd name="connsiteY30" fmla="*/ 17812 h 58864"/>
                  <a:gd name="connsiteX31" fmla="*/ 13716 w 49434"/>
                  <a:gd name="connsiteY31" fmla="*/ 23813 h 58864"/>
                  <a:gd name="connsiteX32" fmla="*/ 36481 w 49434"/>
                  <a:gd name="connsiteY32" fmla="*/ 23813 h 58864"/>
                  <a:gd name="connsiteX33" fmla="*/ 36481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525" y="36195"/>
                    </a:moveTo>
                    <a:lnTo>
                      <a:pt x="13525" y="41243"/>
                    </a:lnTo>
                    <a:cubicBezTo>
                      <a:pt x="13525" y="41243"/>
                      <a:pt x="13621" y="41910"/>
                      <a:pt x="13621" y="41910"/>
                    </a:cubicBezTo>
                    <a:cubicBezTo>
                      <a:pt x="14859" y="43910"/>
                      <a:pt x="17526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386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958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290" y="17717"/>
                    </a:moveTo>
                    <a:cubicBezTo>
                      <a:pt x="36290" y="17717"/>
                      <a:pt x="36290" y="17050"/>
                      <a:pt x="36195" y="16955"/>
                    </a:cubicBezTo>
                    <a:cubicBezTo>
                      <a:pt x="35433" y="15621"/>
                      <a:pt x="33433" y="13716"/>
                      <a:pt x="31814" y="12859"/>
                    </a:cubicBezTo>
                    <a:cubicBezTo>
                      <a:pt x="31528" y="12763"/>
                      <a:pt x="31242" y="12763"/>
                      <a:pt x="31052" y="12763"/>
                    </a:cubicBezTo>
                    <a:lnTo>
                      <a:pt x="18955" y="12763"/>
                    </a:lnTo>
                    <a:cubicBezTo>
                      <a:pt x="17621" y="12763"/>
                      <a:pt x="14954" y="15050"/>
                      <a:pt x="13811" y="17050"/>
                    </a:cubicBezTo>
                    <a:cubicBezTo>
                      <a:pt x="13716" y="17336"/>
                      <a:pt x="13716" y="17812"/>
                      <a:pt x="13716" y="17812"/>
                    </a:cubicBezTo>
                    <a:lnTo>
                      <a:pt x="13716" y="23813"/>
                    </a:lnTo>
                    <a:lnTo>
                      <a:pt x="36481" y="23813"/>
                    </a:lnTo>
                    <a:lnTo>
                      <a:pt x="36481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33F48B79-6F7B-4F6A-B154-BA64BE5DD2A9}"/>
                  </a:ext>
                </a:extLst>
              </p:cNvPr>
              <p:cNvSpPr/>
              <p:nvPr/>
            </p:nvSpPr>
            <p:spPr>
              <a:xfrm>
                <a:off x="9694374" y="5312478"/>
                <a:ext cx="50388" cy="58103"/>
              </a:xfrm>
              <a:custGeom>
                <a:avLst/>
                <a:gdLst>
                  <a:gd name="connsiteX0" fmla="*/ 37243 w 50387"/>
                  <a:gd name="connsiteY0" fmla="*/ 57531 h 58102"/>
                  <a:gd name="connsiteX1" fmla="*/ 36862 w 50387"/>
                  <a:gd name="connsiteY1" fmla="*/ 54197 h 58102"/>
                  <a:gd name="connsiteX2" fmla="*/ 28480 w 50387"/>
                  <a:gd name="connsiteY2" fmla="*/ 58103 h 58102"/>
                  <a:gd name="connsiteX3" fmla="*/ 18479 w 50387"/>
                  <a:gd name="connsiteY3" fmla="*/ 58103 h 58102"/>
                  <a:gd name="connsiteX4" fmla="*/ 8763 w 50387"/>
                  <a:gd name="connsiteY4" fmla="*/ 55340 h 58102"/>
                  <a:gd name="connsiteX5" fmla="*/ 2381 w 50387"/>
                  <a:gd name="connsiteY5" fmla="*/ 48768 h 58102"/>
                  <a:gd name="connsiteX6" fmla="*/ 0 w 50387"/>
                  <a:gd name="connsiteY6" fmla="*/ 40672 h 58102"/>
                  <a:gd name="connsiteX7" fmla="*/ 0 w 50387"/>
                  <a:gd name="connsiteY7" fmla="*/ 0 h 58102"/>
                  <a:gd name="connsiteX8" fmla="*/ 13335 w 50387"/>
                  <a:gd name="connsiteY8" fmla="*/ 0 h 58102"/>
                  <a:gd name="connsiteX9" fmla="*/ 13335 w 50387"/>
                  <a:gd name="connsiteY9" fmla="*/ 40386 h 58102"/>
                  <a:gd name="connsiteX10" fmla="*/ 13430 w 50387"/>
                  <a:gd name="connsiteY10" fmla="*/ 41339 h 58102"/>
                  <a:gd name="connsiteX11" fmla="*/ 17812 w 50387"/>
                  <a:gd name="connsiteY11" fmla="*/ 45339 h 58102"/>
                  <a:gd name="connsiteX12" fmla="*/ 18574 w 50387"/>
                  <a:gd name="connsiteY12" fmla="*/ 45434 h 58102"/>
                  <a:gd name="connsiteX13" fmla="*/ 28004 w 50387"/>
                  <a:gd name="connsiteY13" fmla="*/ 45434 h 58102"/>
                  <a:gd name="connsiteX14" fmla="*/ 35814 w 50387"/>
                  <a:gd name="connsiteY14" fmla="*/ 40100 h 58102"/>
                  <a:gd name="connsiteX15" fmla="*/ 35814 w 50387"/>
                  <a:gd name="connsiteY15" fmla="*/ 0 h 58102"/>
                  <a:gd name="connsiteX16" fmla="*/ 49149 w 50387"/>
                  <a:gd name="connsiteY16" fmla="*/ 0 h 58102"/>
                  <a:gd name="connsiteX17" fmla="*/ 49149 w 50387"/>
                  <a:gd name="connsiteY17" fmla="*/ 45720 h 58102"/>
                  <a:gd name="connsiteX18" fmla="*/ 50387 w 50387"/>
                  <a:gd name="connsiteY18" fmla="*/ 57531 h 58102"/>
                  <a:gd name="connsiteX19" fmla="*/ 37243 w 50387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0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571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288" y="42767"/>
                      <a:pt x="16383" y="44387"/>
                      <a:pt x="17812" y="45339"/>
                    </a:cubicBezTo>
                    <a:cubicBezTo>
                      <a:pt x="18097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814" y="40100"/>
                    </a:cubicBezTo>
                    <a:lnTo>
                      <a:pt x="35814" y="0"/>
                    </a:lnTo>
                    <a:lnTo>
                      <a:pt x="49149" y="0"/>
                    </a:lnTo>
                    <a:lnTo>
                      <a:pt x="49149" y="45720"/>
                    </a:lnTo>
                    <a:lnTo>
                      <a:pt x="50387" y="57531"/>
                    </a:lnTo>
                    <a:lnTo>
                      <a:pt x="37243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98E2AEFF-2FA1-4364-AB47-F584A91EBCA2}"/>
                  </a:ext>
                </a:extLst>
              </p:cNvPr>
              <p:cNvSpPr/>
              <p:nvPr/>
            </p:nvSpPr>
            <p:spPr>
              <a:xfrm>
                <a:off x="9758668" y="5290378"/>
                <a:ext cx="38767" cy="79630"/>
              </a:xfrm>
              <a:custGeom>
                <a:avLst/>
                <a:gdLst>
                  <a:gd name="connsiteX0" fmla="*/ 22479 w 38766"/>
                  <a:gd name="connsiteY0" fmla="*/ 61817 h 79629"/>
                  <a:gd name="connsiteX1" fmla="*/ 22574 w 38766"/>
                  <a:gd name="connsiteY1" fmla="*/ 62579 h 79629"/>
                  <a:gd name="connsiteX2" fmla="*/ 27718 w 38766"/>
                  <a:gd name="connsiteY2" fmla="*/ 66961 h 79629"/>
                  <a:gd name="connsiteX3" fmla="*/ 38767 w 38766"/>
                  <a:gd name="connsiteY3" fmla="*/ 66961 h 79629"/>
                  <a:gd name="connsiteX4" fmla="*/ 38767 w 38766"/>
                  <a:gd name="connsiteY4" fmla="*/ 79629 h 79629"/>
                  <a:gd name="connsiteX5" fmla="*/ 27527 w 38766"/>
                  <a:gd name="connsiteY5" fmla="*/ 79629 h 79629"/>
                  <a:gd name="connsiteX6" fmla="*/ 17907 w 38766"/>
                  <a:gd name="connsiteY6" fmla="*/ 76867 h 79629"/>
                  <a:gd name="connsiteX7" fmla="*/ 11525 w 38766"/>
                  <a:gd name="connsiteY7" fmla="*/ 70295 h 79629"/>
                  <a:gd name="connsiteX8" fmla="*/ 8954 w 38766"/>
                  <a:gd name="connsiteY8" fmla="*/ 61913 h 79629"/>
                  <a:gd name="connsiteX9" fmla="*/ 8954 w 38766"/>
                  <a:gd name="connsiteY9" fmla="*/ 34766 h 79629"/>
                  <a:gd name="connsiteX10" fmla="*/ 0 w 38766"/>
                  <a:gd name="connsiteY10" fmla="*/ 34766 h 79629"/>
                  <a:gd name="connsiteX11" fmla="*/ 0 w 38766"/>
                  <a:gd name="connsiteY11" fmla="*/ 22098 h 79629"/>
                  <a:gd name="connsiteX12" fmla="*/ 8954 w 38766"/>
                  <a:gd name="connsiteY12" fmla="*/ 22098 h 79629"/>
                  <a:gd name="connsiteX13" fmla="*/ 8954 w 38766"/>
                  <a:gd name="connsiteY13" fmla="*/ 0 h 79629"/>
                  <a:gd name="connsiteX14" fmla="*/ 22288 w 38766"/>
                  <a:gd name="connsiteY14" fmla="*/ 0 h 79629"/>
                  <a:gd name="connsiteX15" fmla="*/ 22288 w 38766"/>
                  <a:gd name="connsiteY15" fmla="*/ 22098 h 79629"/>
                  <a:gd name="connsiteX16" fmla="*/ 38767 w 38766"/>
                  <a:gd name="connsiteY16" fmla="*/ 22098 h 79629"/>
                  <a:gd name="connsiteX17" fmla="*/ 38767 w 38766"/>
                  <a:gd name="connsiteY17" fmla="*/ 34766 h 79629"/>
                  <a:gd name="connsiteX18" fmla="*/ 22288 w 38766"/>
                  <a:gd name="connsiteY18" fmla="*/ 34766 h 79629"/>
                  <a:gd name="connsiteX19" fmla="*/ 22288 w 38766"/>
                  <a:gd name="connsiteY19" fmla="*/ 61817 h 79629"/>
                  <a:gd name="connsiteX20" fmla="*/ 22288 w 38766"/>
                  <a:gd name="connsiteY20" fmla="*/ 61817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8766" h="79629">
                    <a:moveTo>
                      <a:pt x="22479" y="61817"/>
                    </a:moveTo>
                    <a:cubicBezTo>
                      <a:pt x="22479" y="61817"/>
                      <a:pt x="22479" y="62389"/>
                      <a:pt x="22574" y="62579"/>
                    </a:cubicBezTo>
                    <a:cubicBezTo>
                      <a:pt x="23336" y="64008"/>
                      <a:pt x="25908" y="66961"/>
                      <a:pt x="27718" y="66961"/>
                    </a:cubicBezTo>
                    <a:lnTo>
                      <a:pt x="38767" y="66961"/>
                    </a:lnTo>
                    <a:lnTo>
                      <a:pt x="38767" y="79629"/>
                    </a:lnTo>
                    <a:lnTo>
                      <a:pt x="27527" y="79629"/>
                    </a:lnTo>
                    <a:cubicBezTo>
                      <a:pt x="24193" y="79629"/>
                      <a:pt x="20574" y="78677"/>
                      <a:pt x="17907" y="76867"/>
                    </a:cubicBezTo>
                    <a:cubicBezTo>
                      <a:pt x="15812" y="75438"/>
                      <a:pt x="12573" y="71819"/>
                      <a:pt x="11525" y="70295"/>
                    </a:cubicBezTo>
                    <a:cubicBezTo>
                      <a:pt x="9811" y="67723"/>
                      <a:pt x="8954" y="64865"/>
                      <a:pt x="8954" y="61913"/>
                    </a:cubicBezTo>
                    <a:lnTo>
                      <a:pt x="8954" y="34766"/>
                    </a:lnTo>
                    <a:lnTo>
                      <a:pt x="0" y="34766"/>
                    </a:lnTo>
                    <a:lnTo>
                      <a:pt x="0" y="22098"/>
                    </a:lnTo>
                    <a:lnTo>
                      <a:pt x="8954" y="22098"/>
                    </a:lnTo>
                    <a:lnTo>
                      <a:pt x="8954" y="0"/>
                    </a:lnTo>
                    <a:lnTo>
                      <a:pt x="22288" y="0"/>
                    </a:lnTo>
                    <a:lnTo>
                      <a:pt x="22288" y="22098"/>
                    </a:lnTo>
                    <a:lnTo>
                      <a:pt x="38767" y="22098"/>
                    </a:lnTo>
                    <a:lnTo>
                      <a:pt x="38767" y="34766"/>
                    </a:lnTo>
                    <a:lnTo>
                      <a:pt x="22288" y="34766"/>
                    </a:lnTo>
                    <a:lnTo>
                      <a:pt x="22288" y="61817"/>
                    </a:lnTo>
                    <a:lnTo>
                      <a:pt x="22288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ACCD6555-5162-4305-B9FE-8BDC2715B8CF}"/>
                  </a:ext>
                </a:extLst>
              </p:cNvPr>
              <p:cNvSpPr/>
              <p:nvPr/>
            </p:nvSpPr>
            <p:spPr>
              <a:xfrm>
                <a:off x="9817057" y="5290277"/>
                <a:ext cx="14573" cy="79724"/>
              </a:xfrm>
              <a:custGeom>
                <a:avLst/>
                <a:gdLst>
                  <a:gd name="connsiteX0" fmla="*/ 1333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429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3" y="79724"/>
                    </a:moveTo>
                    <a:cubicBezTo>
                      <a:pt x="952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429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C392B92-C18B-460D-AB2A-010B659371C4}"/>
                  </a:ext>
                </a:extLst>
              </p:cNvPr>
              <p:cNvSpPr/>
              <p:nvPr/>
            </p:nvSpPr>
            <p:spPr>
              <a:xfrm>
                <a:off x="9854966" y="5290950"/>
                <a:ext cx="14287" cy="78963"/>
              </a:xfrm>
              <a:custGeom>
                <a:avLst/>
                <a:gdLst>
                  <a:gd name="connsiteX0" fmla="*/ 0 w 14287"/>
                  <a:gd name="connsiteY0" fmla="*/ 0 h 78962"/>
                  <a:gd name="connsiteX1" fmla="*/ 14288 w 14287"/>
                  <a:gd name="connsiteY1" fmla="*/ 0 h 78962"/>
                  <a:gd name="connsiteX2" fmla="*/ 14288 w 14287"/>
                  <a:gd name="connsiteY2" fmla="*/ 14288 h 78962"/>
                  <a:gd name="connsiteX3" fmla="*/ 0 w 14287"/>
                  <a:gd name="connsiteY3" fmla="*/ 14288 h 78962"/>
                  <a:gd name="connsiteX4" fmla="*/ 0 w 14287"/>
                  <a:gd name="connsiteY4" fmla="*/ 0 h 78962"/>
                  <a:gd name="connsiteX5" fmla="*/ 571 w 14287"/>
                  <a:gd name="connsiteY5" fmla="*/ 21431 h 78962"/>
                  <a:gd name="connsiteX6" fmla="*/ 13907 w 14287"/>
                  <a:gd name="connsiteY6" fmla="*/ 21431 h 78962"/>
                  <a:gd name="connsiteX7" fmla="*/ 13907 w 14287"/>
                  <a:gd name="connsiteY7" fmla="*/ 78962 h 78962"/>
                  <a:gd name="connsiteX8" fmla="*/ 571 w 14287"/>
                  <a:gd name="connsiteY8" fmla="*/ 78962 h 78962"/>
                  <a:gd name="connsiteX9" fmla="*/ 571 w 14287"/>
                  <a:gd name="connsiteY9" fmla="*/ 21527 h 7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87" h="78962">
                    <a:moveTo>
                      <a:pt x="0" y="0"/>
                    </a:moveTo>
                    <a:lnTo>
                      <a:pt x="14288" y="0"/>
                    </a:lnTo>
                    <a:lnTo>
                      <a:pt x="14288" y="14288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  <a:moveTo>
                      <a:pt x="571" y="21431"/>
                    </a:moveTo>
                    <a:lnTo>
                      <a:pt x="13907" y="21431"/>
                    </a:lnTo>
                    <a:lnTo>
                      <a:pt x="13907" y="78962"/>
                    </a:lnTo>
                    <a:lnTo>
                      <a:pt x="571" y="78962"/>
                    </a:lnTo>
                    <a:lnTo>
                      <a:pt x="571" y="2152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A291D034-11FA-476A-AA09-1A6958AA4411}"/>
                  </a:ext>
                </a:extLst>
              </p:cNvPr>
              <p:cNvSpPr/>
              <p:nvPr/>
            </p:nvSpPr>
            <p:spPr>
              <a:xfrm>
                <a:off x="9891161" y="5311904"/>
                <a:ext cx="50388" cy="58197"/>
              </a:xfrm>
              <a:custGeom>
                <a:avLst/>
                <a:gdLst>
                  <a:gd name="connsiteX0" fmla="*/ 37243 w 50387"/>
                  <a:gd name="connsiteY0" fmla="*/ 58103 h 58197"/>
                  <a:gd name="connsiteX1" fmla="*/ 37243 w 50387"/>
                  <a:gd name="connsiteY1" fmla="*/ 17621 h 58197"/>
                  <a:gd name="connsiteX2" fmla="*/ 37052 w 50387"/>
                  <a:gd name="connsiteY2" fmla="*/ 16859 h 58197"/>
                  <a:gd name="connsiteX3" fmla="*/ 32956 w 50387"/>
                  <a:gd name="connsiteY3" fmla="*/ 12763 h 58197"/>
                  <a:gd name="connsiteX4" fmla="*/ 31909 w 50387"/>
                  <a:gd name="connsiteY4" fmla="*/ 12668 h 58197"/>
                  <a:gd name="connsiteX5" fmla="*/ 22574 w 50387"/>
                  <a:gd name="connsiteY5" fmla="*/ 12668 h 58197"/>
                  <a:gd name="connsiteX6" fmla="*/ 14668 w 50387"/>
                  <a:gd name="connsiteY6" fmla="*/ 18098 h 58197"/>
                  <a:gd name="connsiteX7" fmla="*/ 14668 w 50387"/>
                  <a:gd name="connsiteY7" fmla="*/ 58198 h 58197"/>
                  <a:gd name="connsiteX8" fmla="*/ 1333 w 50387"/>
                  <a:gd name="connsiteY8" fmla="*/ 58198 h 58197"/>
                  <a:gd name="connsiteX9" fmla="*/ 1333 w 50387"/>
                  <a:gd name="connsiteY9" fmla="*/ 12478 h 58197"/>
                  <a:gd name="connsiteX10" fmla="*/ 0 w 50387"/>
                  <a:gd name="connsiteY10" fmla="*/ 667 h 58197"/>
                  <a:gd name="connsiteX11" fmla="*/ 13240 w 50387"/>
                  <a:gd name="connsiteY11" fmla="*/ 667 h 58197"/>
                  <a:gd name="connsiteX12" fmla="*/ 13716 w 50387"/>
                  <a:gd name="connsiteY12" fmla="*/ 3715 h 58197"/>
                  <a:gd name="connsiteX13" fmla="*/ 22098 w 50387"/>
                  <a:gd name="connsiteY13" fmla="*/ 0 h 58197"/>
                  <a:gd name="connsiteX14" fmla="*/ 31909 w 50387"/>
                  <a:gd name="connsiteY14" fmla="*/ 0 h 58197"/>
                  <a:gd name="connsiteX15" fmla="*/ 41624 w 50387"/>
                  <a:gd name="connsiteY15" fmla="*/ 2953 h 58197"/>
                  <a:gd name="connsiteX16" fmla="*/ 48006 w 50387"/>
                  <a:gd name="connsiteY16" fmla="*/ 9335 h 58197"/>
                  <a:gd name="connsiteX17" fmla="*/ 50387 w 50387"/>
                  <a:gd name="connsiteY17" fmla="*/ 17431 h 58197"/>
                  <a:gd name="connsiteX18" fmla="*/ 50387 w 50387"/>
                  <a:gd name="connsiteY18" fmla="*/ 58198 h 58197"/>
                  <a:gd name="connsiteX19" fmla="*/ 37052 w 50387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052" y="16859"/>
                    </a:cubicBezTo>
                    <a:cubicBezTo>
                      <a:pt x="36290" y="15430"/>
                      <a:pt x="34385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2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1909" y="0"/>
                    </a:lnTo>
                    <a:cubicBezTo>
                      <a:pt x="35242" y="0"/>
                      <a:pt x="38957" y="1048"/>
                      <a:pt x="41624" y="2953"/>
                    </a:cubicBezTo>
                    <a:cubicBezTo>
                      <a:pt x="43625" y="4382"/>
                      <a:pt x="46958" y="7715"/>
                      <a:pt x="48006" y="9335"/>
                    </a:cubicBezTo>
                    <a:cubicBezTo>
                      <a:pt x="49911" y="11906"/>
                      <a:pt x="50387" y="14764"/>
                      <a:pt x="50387" y="17431"/>
                    </a:cubicBezTo>
                    <a:lnTo>
                      <a:pt x="50387" y="58198"/>
                    </a:lnTo>
                    <a:lnTo>
                      <a:pt x="37052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B4A94549-E7F1-49FC-B73C-259005BF1AD4}"/>
                  </a:ext>
                </a:extLst>
              </p:cNvPr>
              <p:cNvSpPr/>
              <p:nvPr/>
            </p:nvSpPr>
            <p:spPr>
              <a:xfrm>
                <a:off x="9959171" y="5311904"/>
                <a:ext cx="51054" cy="80676"/>
              </a:xfrm>
              <a:custGeom>
                <a:avLst/>
                <a:gdLst>
                  <a:gd name="connsiteX0" fmla="*/ 50101 w 51054"/>
                  <a:gd name="connsiteY0" fmla="*/ 12573 h 80676"/>
                  <a:gd name="connsiteX1" fmla="*/ 50101 w 51054"/>
                  <a:gd name="connsiteY1" fmla="*/ 62960 h 80676"/>
                  <a:gd name="connsiteX2" fmla="*/ 47816 w 51054"/>
                  <a:gd name="connsiteY2" fmla="*/ 71342 h 80676"/>
                  <a:gd name="connsiteX3" fmla="*/ 41434 w 51054"/>
                  <a:gd name="connsiteY3" fmla="*/ 77724 h 80676"/>
                  <a:gd name="connsiteX4" fmla="*/ 31718 w 51054"/>
                  <a:gd name="connsiteY4" fmla="*/ 80677 h 80676"/>
                  <a:gd name="connsiteX5" fmla="*/ 20002 w 51054"/>
                  <a:gd name="connsiteY5" fmla="*/ 80677 h 80676"/>
                  <a:gd name="connsiteX6" fmla="*/ 10382 w 51054"/>
                  <a:gd name="connsiteY6" fmla="*/ 77438 h 80676"/>
                  <a:gd name="connsiteX7" fmla="*/ 1810 w 51054"/>
                  <a:gd name="connsiteY7" fmla="*/ 67628 h 80676"/>
                  <a:gd name="connsiteX8" fmla="*/ 14192 w 51054"/>
                  <a:gd name="connsiteY8" fmla="*/ 63913 h 80676"/>
                  <a:gd name="connsiteX9" fmla="*/ 14573 w 51054"/>
                  <a:gd name="connsiteY9" fmla="*/ 64484 h 80676"/>
                  <a:gd name="connsiteX10" fmla="*/ 19526 w 51054"/>
                  <a:gd name="connsiteY10" fmla="*/ 68104 h 80676"/>
                  <a:gd name="connsiteX11" fmla="*/ 31528 w 51054"/>
                  <a:gd name="connsiteY11" fmla="*/ 68104 h 80676"/>
                  <a:gd name="connsiteX12" fmla="*/ 32290 w 51054"/>
                  <a:gd name="connsiteY12" fmla="*/ 67818 h 80676"/>
                  <a:gd name="connsiteX13" fmla="*/ 36671 w 51054"/>
                  <a:gd name="connsiteY13" fmla="*/ 63722 h 80676"/>
                  <a:gd name="connsiteX14" fmla="*/ 36671 w 51054"/>
                  <a:gd name="connsiteY14" fmla="*/ 55626 h 80676"/>
                  <a:gd name="connsiteX15" fmla="*/ 28766 w 51054"/>
                  <a:gd name="connsiteY15" fmla="*/ 58865 h 80676"/>
                  <a:gd name="connsiteX16" fmla="*/ 18479 w 51054"/>
                  <a:gd name="connsiteY16" fmla="*/ 58865 h 80676"/>
                  <a:gd name="connsiteX17" fmla="*/ 8763 w 51054"/>
                  <a:gd name="connsiteY17" fmla="*/ 55912 h 80676"/>
                  <a:gd name="connsiteX18" fmla="*/ 2381 w 51054"/>
                  <a:gd name="connsiteY18" fmla="*/ 49340 h 80676"/>
                  <a:gd name="connsiteX19" fmla="*/ 0 w 51054"/>
                  <a:gd name="connsiteY19" fmla="*/ 41053 h 80676"/>
                  <a:gd name="connsiteX20" fmla="*/ 0 w 51054"/>
                  <a:gd name="connsiteY20" fmla="*/ 17717 h 80676"/>
                  <a:gd name="connsiteX21" fmla="*/ 2381 w 51054"/>
                  <a:gd name="connsiteY21" fmla="*/ 9430 h 80676"/>
                  <a:gd name="connsiteX22" fmla="*/ 8763 w 51054"/>
                  <a:gd name="connsiteY22" fmla="*/ 2953 h 80676"/>
                  <a:gd name="connsiteX23" fmla="*/ 18479 w 51054"/>
                  <a:gd name="connsiteY23" fmla="*/ 0 h 80676"/>
                  <a:gd name="connsiteX24" fmla="*/ 28766 w 51054"/>
                  <a:gd name="connsiteY24" fmla="*/ 0 h 80676"/>
                  <a:gd name="connsiteX25" fmla="*/ 37529 w 51054"/>
                  <a:gd name="connsiteY25" fmla="*/ 3619 h 80676"/>
                  <a:gd name="connsiteX26" fmla="*/ 37909 w 51054"/>
                  <a:gd name="connsiteY26" fmla="*/ 667 h 80676"/>
                  <a:gd name="connsiteX27" fmla="*/ 51054 w 51054"/>
                  <a:gd name="connsiteY27" fmla="*/ 667 h 80676"/>
                  <a:gd name="connsiteX28" fmla="*/ 49816 w 51054"/>
                  <a:gd name="connsiteY28" fmla="*/ 12668 h 80676"/>
                  <a:gd name="connsiteX29" fmla="*/ 28575 w 51054"/>
                  <a:gd name="connsiteY29" fmla="*/ 46006 h 80676"/>
                  <a:gd name="connsiteX30" fmla="*/ 29527 w 51054"/>
                  <a:gd name="connsiteY30" fmla="*/ 45911 h 80676"/>
                  <a:gd name="connsiteX31" fmla="*/ 36862 w 51054"/>
                  <a:gd name="connsiteY31" fmla="*/ 39910 h 80676"/>
                  <a:gd name="connsiteX32" fmla="*/ 36862 w 51054"/>
                  <a:gd name="connsiteY32" fmla="*/ 18860 h 80676"/>
                  <a:gd name="connsiteX33" fmla="*/ 28575 w 51054"/>
                  <a:gd name="connsiteY33" fmla="*/ 12573 h 80676"/>
                  <a:gd name="connsiteX34" fmla="*/ 18859 w 51054"/>
                  <a:gd name="connsiteY34" fmla="*/ 12573 h 80676"/>
                  <a:gd name="connsiteX35" fmla="*/ 18097 w 51054"/>
                  <a:gd name="connsiteY35" fmla="*/ 12859 h 80676"/>
                  <a:gd name="connsiteX36" fmla="*/ 13716 w 51054"/>
                  <a:gd name="connsiteY36" fmla="*/ 17240 h 80676"/>
                  <a:gd name="connsiteX37" fmla="*/ 13621 w 51054"/>
                  <a:gd name="connsiteY37" fmla="*/ 17907 h 80676"/>
                  <a:gd name="connsiteX38" fmla="*/ 13621 w 51054"/>
                  <a:gd name="connsiteY38" fmla="*/ 40672 h 80676"/>
                  <a:gd name="connsiteX39" fmla="*/ 13716 w 51054"/>
                  <a:gd name="connsiteY39" fmla="*/ 41434 h 80676"/>
                  <a:gd name="connsiteX40" fmla="*/ 18097 w 51054"/>
                  <a:gd name="connsiteY40" fmla="*/ 45815 h 80676"/>
                  <a:gd name="connsiteX41" fmla="*/ 18859 w 51054"/>
                  <a:gd name="connsiteY41" fmla="*/ 45911 h 80676"/>
                  <a:gd name="connsiteX42" fmla="*/ 28575 w 51054"/>
                  <a:gd name="connsiteY42" fmla="*/ 45911 h 8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1054" h="80676">
                    <a:moveTo>
                      <a:pt x="50101" y="12573"/>
                    </a:moveTo>
                    <a:lnTo>
                      <a:pt x="50101" y="62960"/>
                    </a:lnTo>
                    <a:cubicBezTo>
                      <a:pt x="50101" y="65723"/>
                      <a:pt x="49721" y="68866"/>
                      <a:pt x="47816" y="71342"/>
                    </a:cubicBezTo>
                    <a:cubicBezTo>
                      <a:pt x="46768" y="72962"/>
                      <a:pt x="43434" y="76295"/>
                      <a:pt x="41434" y="77724"/>
                    </a:cubicBezTo>
                    <a:cubicBezTo>
                      <a:pt x="38767" y="79629"/>
                      <a:pt x="34862" y="80677"/>
                      <a:pt x="31718" y="80677"/>
                    </a:cubicBezTo>
                    <a:lnTo>
                      <a:pt x="20002" y="80677"/>
                    </a:lnTo>
                    <a:cubicBezTo>
                      <a:pt x="16764" y="80677"/>
                      <a:pt x="12954" y="79248"/>
                      <a:pt x="10382" y="77438"/>
                    </a:cubicBezTo>
                    <a:cubicBezTo>
                      <a:pt x="8192" y="76010"/>
                      <a:pt x="3143" y="70771"/>
                      <a:pt x="1810" y="67628"/>
                    </a:cubicBezTo>
                    <a:lnTo>
                      <a:pt x="14192" y="63913"/>
                    </a:lnTo>
                    <a:cubicBezTo>
                      <a:pt x="14192" y="63913"/>
                      <a:pt x="14383" y="64199"/>
                      <a:pt x="14573" y="64484"/>
                    </a:cubicBezTo>
                    <a:cubicBezTo>
                      <a:pt x="15335" y="65437"/>
                      <a:pt x="18193" y="68104"/>
                      <a:pt x="19526" y="68104"/>
                    </a:cubicBezTo>
                    <a:lnTo>
                      <a:pt x="31528" y="68104"/>
                    </a:lnTo>
                    <a:cubicBezTo>
                      <a:pt x="31528" y="68104"/>
                      <a:pt x="32099" y="68009"/>
                      <a:pt x="32290" y="67818"/>
                    </a:cubicBezTo>
                    <a:cubicBezTo>
                      <a:pt x="33528" y="67151"/>
                      <a:pt x="36576" y="64770"/>
                      <a:pt x="36671" y="63722"/>
                    </a:cubicBezTo>
                    <a:lnTo>
                      <a:pt x="36671" y="55626"/>
                    </a:lnTo>
                    <a:cubicBezTo>
                      <a:pt x="34385" y="57245"/>
                      <a:pt x="31623" y="58865"/>
                      <a:pt x="28766" y="58865"/>
                    </a:cubicBezTo>
                    <a:lnTo>
                      <a:pt x="18479" y="58865"/>
                    </a:lnTo>
                    <a:cubicBezTo>
                      <a:pt x="15240" y="58865"/>
                      <a:pt x="11430" y="57817"/>
                      <a:pt x="8763" y="55912"/>
                    </a:cubicBezTo>
                    <a:cubicBezTo>
                      <a:pt x="6667" y="54483"/>
                      <a:pt x="3429" y="50863"/>
                      <a:pt x="2381" y="49340"/>
                    </a:cubicBezTo>
                    <a:cubicBezTo>
                      <a:pt x="476" y="46768"/>
                      <a:pt x="0" y="43910"/>
                      <a:pt x="0" y="41053"/>
                    </a:cubicBezTo>
                    <a:lnTo>
                      <a:pt x="0" y="17717"/>
                    </a:lnTo>
                    <a:cubicBezTo>
                      <a:pt x="0" y="14954"/>
                      <a:pt x="571" y="12001"/>
                      <a:pt x="2381" y="9430"/>
                    </a:cubicBezTo>
                    <a:cubicBezTo>
                      <a:pt x="3429" y="8001"/>
                      <a:pt x="6667" y="4382"/>
                      <a:pt x="8763" y="2953"/>
                    </a:cubicBezTo>
                    <a:cubicBezTo>
                      <a:pt x="11430" y="1048"/>
                      <a:pt x="15240" y="0"/>
                      <a:pt x="18479" y="0"/>
                    </a:cubicBezTo>
                    <a:lnTo>
                      <a:pt x="28766" y="0"/>
                    </a:lnTo>
                    <a:cubicBezTo>
                      <a:pt x="32004" y="0"/>
                      <a:pt x="35147" y="1714"/>
                      <a:pt x="37529" y="3619"/>
                    </a:cubicBezTo>
                    <a:lnTo>
                      <a:pt x="37909" y="667"/>
                    </a:lnTo>
                    <a:lnTo>
                      <a:pt x="51054" y="667"/>
                    </a:lnTo>
                    <a:lnTo>
                      <a:pt x="49816" y="12668"/>
                    </a:lnTo>
                    <a:close/>
                    <a:moveTo>
                      <a:pt x="28575" y="46006"/>
                    </a:moveTo>
                    <a:cubicBezTo>
                      <a:pt x="28575" y="46006"/>
                      <a:pt x="29242" y="46006"/>
                      <a:pt x="29527" y="45911"/>
                    </a:cubicBezTo>
                    <a:cubicBezTo>
                      <a:pt x="31909" y="44672"/>
                      <a:pt x="35147" y="41910"/>
                      <a:pt x="36862" y="39910"/>
                    </a:cubicBezTo>
                    <a:lnTo>
                      <a:pt x="36862" y="18860"/>
                    </a:lnTo>
                    <a:cubicBezTo>
                      <a:pt x="34957" y="16859"/>
                      <a:pt x="30575" y="12573"/>
                      <a:pt x="28575" y="12573"/>
                    </a:cubicBezTo>
                    <a:lnTo>
                      <a:pt x="18859" y="12573"/>
                    </a:lnTo>
                    <a:cubicBezTo>
                      <a:pt x="18859" y="12573"/>
                      <a:pt x="18288" y="12668"/>
                      <a:pt x="18097" y="12859"/>
                    </a:cubicBezTo>
                    <a:cubicBezTo>
                      <a:pt x="16669" y="13811"/>
                      <a:pt x="14573" y="15621"/>
                      <a:pt x="13716" y="17240"/>
                    </a:cubicBezTo>
                    <a:cubicBezTo>
                      <a:pt x="13621" y="17526"/>
                      <a:pt x="13621" y="17907"/>
                      <a:pt x="13621" y="17907"/>
                    </a:cubicBezTo>
                    <a:lnTo>
                      <a:pt x="13621" y="40672"/>
                    </a:lnTo>
                    <a:cubicBezTo>
                      <a:pt x="13621" y="40672"/>
                      <a:pt x="13621" y="41243"/>
                      <a:pt x="13716" y="41434"/>
                    </a:cubicBezTo>
                    <a:cubicBezTo>
                      <a:pt x="14668" y="43053"/>
                      <a:pt x="16669" y="44863"/>
                      <a:pt x="18097" y="45815"/>
                    </a:cubicBezTo>
                    <a:cubicBezTo>
                      <a:pt x="18383" y="45911"/>
                      <a:pt x="18764" y="45911"/>
                      <a:pt x="18859" y="45911"/>
                    </a:cubicBezTo>
                    <a:lnTo>
                      <a:pt x="28575" y="4591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776D8768-CBF7-4213-B562-5BEB8269CCB3}"/>
                  </a:ext>
                </a:extLst>
              </p:cNvPr>
              <p:cNvSpPr/>
              <p:nvPr/>
            </p:nvSpPr>
            <p:spPr>
              <a:xfrm>
                <a:off x="10029656" y="5311798"/>
                <a:ext cx="49434" cy="58865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861 w 49434"/>
                  <a:gd name="connsiteY27" fmla="*/ 12763 h 58864"/>
                  <a:gd name="connsiteX28" fmla="*/ 18764 w 49434"/>
                  <a:gd name="connsiteY28" fmla="*/ 12763 h 58864"/>
                  <a:gd name="connsiteX29" fmla="*/ 13525 w 49434"/>
                  <a:gd name="connsiteY29" fmla="*/ 17050 h 58864"/>
                  <a:gd name="connsiteX30" fmla="*/ 13430 w 49434"/>
                  <a:gd name="connsiteY30" fmla="*/ 17812 h 58864"/>
                  <a:gd name="connsiteX31" fmla="*/ 13430 w 49434"/>
                  <a:gd name="connsiteY31" fmla="*/ 23813 h 58864"/>
                  <a:gd name="connsiteX32" fmla="*/ 36195 w 49434"/>
                  <a:gd name="connsiteY32" fmla="*/ 23813 h 58864"/>
                  <a:gd name="connsiteX33" fmla="*/ 36195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862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20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20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242" y="15621"/>
                      <a:pt x="33338" y="13716"/>
                      <a:pt x="31718" y="12859"/>
                    </a:cubicBezTo>
                    <a:cubicBezTo>
                      <a:pt x="31433" y="12763"/>
                      <a:pt x="31147" y="12763"/>
                      <a:pt x="30861" y="12763"/>
                    </a:cubicBezTo>
                    <a:lnTo>
                      <a:pt x="18764" y="12763"/>
                    </a:lnTo>
                    <a:cubicBezTo>
                      <a:pt x="17431" y="12763"/>
                      <a:pt x="14764" y="15050"/>
                      <a:pt x="13525" y="17050"/>
                    </a:cubicBezTo>
                    <a:cubicBezTo>
                      <a:pt x="13430" y="17336"/>
                      <a:pt x="13430" y="17812"/>
                      <a:pt x="13430" y="17812"/>
                    </a:cubicBezTo>
                    <a:lnTo>
                      <a:pt x="13430" y="23813"/>
                    </a:lnTo>
                    <a:lnTo>
                      <a:pt x="36195" y="23813"/>
                    </a:lnTo>
                    <a:lnTo>
                      <a:pt x="36195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A4F168CB-AADB-43A8-B6ED-BDC1087EC88F}"/>
                  </a:ext>
                </a:extLst>
              </p:cNvPr>
              <p:cNvSpPr/>
              <p:nvPr/>
            </p:nvSpPr>
            <p:spPr>
              <a:xfrm>
                <a:off x="10095187" y="5311893"/>
                <a:ext cx="50482" cy="58197"/>
              </a:xfrm>
              <a:custGeom>
                <a:avLst/>
                <a:gdLst>
                  <a:gd name="connsiteX0" fmla="*/ 37243 w 50482"/>
                  <a:gd name="connsiteY0" fmla="*/ 58103 h 58197"/>
                  <a:gd name="connsiteX1" fmla="*/ 37243 w 50482"/>
                  <a:gd name="connsiteY1" fmla="*/ 17621 h 58197"/>
                  <a:gd name="connsiteX2" fmla="*/ 37147 w 50482"/>
                  <a:gd name="connsiteY2" fmla="*/ 16859 h 58197"/>
                  <a:gd name="connsiteX3" fmla="*/ 32956 w 50482"/>
                  <a:gd name="connsiteY3" fmla="*/ 12763 h 58197"/>
                  <a:gd name="connsiteX4" fmla="*/ 31909 w 50482"/>
                  <a:gd name="connsiteY4" fmla="*/ 12668 h 58197"/>
                  <a:gd name="connsiteX5" fmla="*/ 22574 w 50482"/>
                  <a:gd name="connsiteY5" fmla="*/ 12668 h 58197"/>
                  <a:gd name="connsiteX6" fmla="*/ 14668 w 50482"/>
                  <a:gd name="connsiteY6" fmla="*/ 18098 h 58197"/>
                  <a:gd name="connsiteX7" fmla="*/ 14668 w 50482"/>
                  <a:gd name="connsiteY7" fmla="*/ 58198 h 58197"/>
                  <a:gd name="connsiteX8" fmla="*/ 1333 w 50482"/>
                  <a:gd name="connsiteY8" fmla="*/ 58198 h 58197"/>
                  <a:gd name="connsiteX9" fmla="*/ 1333 w 50482"/>
                  <a:gd name="connsiteY9" fmla="*/ 12478 h 58197"/>
                  <a:gd name="connsiteX10" fmla="*/ 0 w 50482"/>
                  <a:gd name="connsiteY10" fmla="*/ 667 h 58197"/>
                  <a:gd name="connsiteX11" fmla="*/ 13240 w 50482"/>
                  <a:gd name="connsiteY11" fmla="*/ 667 h 58197"/>
                  <a:gd name="connsiteX12" fmla="*/ 13716 w 50482"/>
                  <a:gd name="connsiteY12" fmla="*/ 3715 h 58197"/>
                  <a:gd name="connsiteX13" fmla="*/ 22098 w 50482"/>
                  <a:gd name="connsiteY13" fmla="*/ 0 h 58197"/>
                  <a:gd name="connsiteX14" fmla="*/ 32004 w 50482"/>
                  <a:gd name="connsiteY14" fmla="*/ 0 h 58197"/>
                  <a:gd name="connsiteX15" fmla="*/ 41720 w 50482"/>
                  <a:gd name="connsiteY15" fmla="*/ 2953 h 58197"/>
                  <a:gd name="connsiteX16" fmla="*/ 48101 w 50482"/>
                  <a:gd name="connsiteY16" fmla="*/ 9335 h 58197"/>
                  <a:gd name="connsiteX17" fmla="*/ 50483 w 50482"/>
                  <a:gd name="connsiteY17" fmla="*/ 17431 h 58197"/>
                  <a:gd name="connsiteX18" fmla="*/ 50483 w 50482"/>
                  <a:gd name="connsiteY18" fmla="*/ 58198 h 58197"/>
                  <a:gd name="connsiteX19" fmla="*/ 37147 w 50482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147" y="16859"/>
                    </a:cubicBezTo>
                    <a:cubicBezTo>
                      <a:pt x="36385" y="15430"/>
                      <a:pt x="34480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3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2004" y="0"/>
                    </a:lnTo>
                    <a:cubicBezTo>
                      <a:pt x="35338" y="0"/>
                      <a:pt x="39053" y="1048"/>
                      <a:pt x="41720" y="2953"/>
                    </a:cubicBezTo>
                    <a:cubicBezTo>
                      <a:pt x="43720" y="4382"/>
                      <a:pt x="47054" y="7715"/>
                      <a:pt x="48101" y="9335"/>
                    </a:cubicBezTo>
                    <a:cubicBezTo>
                      <a:pt x="49911" y="11906"/>
                      <a:pt x="50483" y="14764"/>
                      <a:pt x="50483" y="17431"/>
                    </a:cubicBezTo>
                    <a:lnTo>
                      <a:pt x="50483" y="58198"/>
                    </a:lnTo>
                    <a:lnTo>
                      <a:pt x="37147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00F9DFE8-0DE3-462D-B904-0D42BBC266AF}"/>
                  </a:ext>
                </a:extLst>
              </p:cNvPr>
              <p:cNvSpPr/>
              <p:nvPr/>
            </p:nvSpPr>
            <p:spPr>
              <a:xfrm>
                <a:off x="8876173" y="5439434"/>
                <a:ext cx="50958" cy="67913"/>
              </a:xfrm>
              <a:custGeom>
                <a:avLst/>
                <a:gdLst>
                  <a:gd name="connsiteX0" fmla="*/ 40862 w 50958"/>
                  <a:gd name="connsiteY0" fmla="*/ 67913 h 67913"/>
                  <a:gd name="connsiteX1" fmla="*/ 24670 w 50958"/>
                  <a:gd name="connsiteY1" fmla="*/ 39624 h 67913"/>
                  <a:gd name="connsiteX2" fmla="*/ 9239 w 50958"/>
                  <a:gd name="connsiteY2" fmla="*/ 39624 h 67913"/>
                  <a:gd name="connsiteX3" fmla="*/ 9239 w 50958"/>
                  <a:gd name="connsiteY3" fmla="*/ 67913 h 67913"/>
                  <a:gd name="connsiteX4" fmla="*/ 0 w 50958"/>
                  <a:gd name="connsiteY4" fmla="*/ 67913 h 67913"/>
                  <a:gd name="connsiteX5" fmla="*/ 0 w 50958"/>
                  <a:gd name="connsiteY5" fmla="*/ 0 h 67913"/>
                  <a:gd name="connsiteX6" fmla="*/ 31909 w 50958"/>
                  <a:gd name="connsiteY6" fmla="*/ 0 h 67913"/>
                  <a:gd name="connsiteX7" fmla="*/ 39529 w 50958"/>
                  <a:gd name="connsiteY7" fmla="*/ 2381 h 67913"/>
                  <a:gd name="connsiteX8" fmla="*/ 45529 w 50958"/>
                  <a:gd name="connsiteY8" fmla="*/ 8382 h 67913"/>
                  <a:gd name="connsiteX9" fmla="*/ 47434 w 50958"/>
                  <a:gd name="connsiteY9" fmla="*/ 14859 h 67913"/>
                  <a:gd name="connsiteX10" fmla="*/ 47434 w 50958"/>
                  <a:gd name="connsiteY10" fmla="*/ 25051 h 67913"/>
                  <a:gd name="connsiteX11" fmla="*/ 45529 w 50958"/>
                  <a:gd name="connsiteY11" fmla="*/ 31432 h 67913"/>
                  <a:gd name="connsiteX12" fmla="*/ 39529 w 50958"/>
                  <a:gd name="connsiteY12" fmla="*/ 37433 h 67913"/>
                  <a:gd name="connsiteX13" fmla="*/ 34195 w 50958"/>
                  <a:gd name="connsiteY13" fmla="*/ 39433 h 67913"/>
                  <a:gd name="connsiteX14" fmla="*/ 50959 w 50958"/>
                  <a:gd name="connsiteY14" fmla="*/ 67913 h 67913"/>
                  <a:gd name="connsiteX15" fmla="*/ 40862 w 50958"/>
                  <a:gd name="connsiteY15" fmla="*/ 67913 h 67913"/>
                  <a:gd name="connsiteX16" fmla="*/ 38195 w 50958"/>
                  <a:gd name="connsiteY16" fmla="*/ 15049 h 67913"/>
                  <a:gd name="connsiteX17" fmla="*/ 38100 w 50958"/>
                  <a:gd name="connsiteY17" fmla="*/ 13811 h 67913"/>
                  <a:gd name="connsiteX18" fmla="*/ 32575 w 50958"/>
                  <a:gd name="connsiteY18" fmla="*/ 8858 h 67913"/>
                  <a:gd name="connsiteX19" fmla="*/ 9430 w 50958"/>
                  <a:gd name="connsiteY19" fmla="*/ 8858 h 67913"/>
                  <a:gd name="connsiteX20" fmla="*/ 9430 w 50958"/>
                  <a:gd name="connsiteY20" fmla="*/ 30766 h 67913"/>
                  <a:gd name="connsiteX21" fmla="*/ 31909 w 50958"/>
                  <a:gd name="connsiteY21" fmla="*/ 30766 h 67913"/>
                  <a:gd name="connsiteX22" fmla="*/ 38100 w 50958"/>
                  <a:gd name="connsiteY22" fmla="*/ 26003 h 67913"/>
                  <a:gd name="connsiteX23" fmla="*/ 38195 w 50958"/>
                  <a:gd name="connsiteY23" fmla="*/ 24765 h 67913"/>
                  <a:gd name="connsiteX24" fmla="*/ 38195 w 50958"/>
                  <a:gd name="connsiteY24" fmla="*/ 15049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958" h="67913">
                    <a:moveTo>
                      <a:pt x="40862" y="67913"/>
                    </a:moveTo>
                    <a:lnTo>
                      <a:pt x="24670" y="39624"/>
                    </a:lnTo>
                    <a:lnTo>
                      <a:pt x="9239" y="39624"/>
                    </a:lnTo>
                    <a:lnTo>
                      <a:pt x="9239" y="67913"/>
                    </a:lnTo>
                    <a:lnTo>
                      <a:pt x="0" y="67913"/>
                    </a:lnTo>
                    <a:lnTo>
                      <a:pt x="0" y="0"/>
                    </a:lnTo>
                    <a:lnTo>
                      <a:pt x="31909" y="0"/>
                    </a:lnTo>
                    <a:cubicBezTo>
                      <a:pt x="34480" y="0"/>
                      <a:pt x="37433" y="857"/>
                      <a:pt x="39529" y="2381"/>
                    </a:cubicBezTo>
                    <a:cubicBezTo>
                      <a:pt x="41148" y="3524"/>
                      <a:pt x="44577" y="7048"/>
                      <a:pt x="45529" y="8382"/>
                    </a:cubicBezTo>
                    <a:cubicBezTo>
                      <a:pt x="46768" y="10287"/>
                      <a:pt x="47434" y="12573"/>
                      <a:pt x="47434" y="14859"/>
                    </a:cubicBezTo>
                    <a:lnTo>
                      <a:pt x="47434" y="25051"/>
                    </a:lnTo>
                    <a:cubicBezTo>
                      <a:pt x="47434" y="27337"/>
                      <a:pt x="46768" y="29432"/>
                      <a:pt x="45529" y="31432"/>
                    </a:cubicBezTo>
                    <a:cubicBezTo>
                      <a:pt x="44577" y="32766"/>
                      <a:pt x="41148" y="36290"/>
                      <a:pt x="39529" y="37433"/>
                    </a:cubicBezTo>
                    <a:cubicBezTo>
                      <a:pt x="38195" y="38481"/>
                      <a:pt x="35814" y="39624"/>
                      <a:pt x="34195" y="39433"/>
                    </a:cubicBezTo>
                    <a:lnTo>
                      <a:pt x="50959" y="67913"/>
                    </a:lnTo>
                    <a:lnTo>
                      <a:pt x="40862" y="67913"/>
                    </a:lnTo>
                    <a:close/>
                    <a:moveTo>
                      <a:pt x="38195" y="15049"/>
                    </a:moveTo>
                    <a:cubicBezTo>
                      <a:pt x="38195" y="15049"/>
                      <a:pt x="38195" y="13906"/>
                      <a:pt x="38100" y="13811"/>
                    </a:cubicBezTo>
                    <a:cubicBezTo>
                      <a:pt x="37433" y="12573"/>
                      <a:pt x="34099" y="8954"/>
                      <a:pt x="32575" y="8858"/>
                    </a:cubicBezTo>
                    <a:lnTo>
                      <a:pt x="9430" y="8858"/>
                    </a:lnTo>
                    <a:lnTo>
                      <a:pt x="9430" y="30766"/>
                    </a:lnTo>
                    <a:lnTo>
                      <a:pt x="31909" y="30766"/>
                    </a:lnTo>
                    <a:cubicBezTo>
                      <a:pt x="33909" y="30766"/>
                      <a:pt x="37243" y="27622"/>
                      <a:pt x="38100" y="26003"/>
                    </a:cubicBezTo>
                    <a:cubicBezTo>
                      <a:pt x="38195" y="25908"/>
                      <a:pt x="38195" y="24956"/>
                      <a:pt x="38195" y="24765"/>
                    </a:cubicBezTo>
                    <a:lnTo>
                      <a:pt x="38195" y="1504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CDDAB43D-1F16-4C93-9ED8-299B245B0953}"/>
                  </a:ext>
                </a:extLst>
              </p:cNvPr>
              <p:cNvSpPr/>
              <p:nvPr/>
            </p:nvSpPr>
            <p:spPr>
              <a:xfrm>
                <a:off x="8938848" y="5457912"/>
                <a:ext cx="41910" cy="50006"/>
              </a:xfrm>
              <a:custGeom>
                <a:avLst/>
                <a:gdLst>
                  <a:gd name="connsiteX0" fmla="*/ 34385 w 41910"/>
                  <a:gd name="connsiteY0" fmla="*/ 47720 h 50006"/>
                  <a:gd name="connsiteX1" fmla="*/ 26670 w 41910"/>
                  <a:gd name="connsiteY1" fmla="*/ 50006 h 50006"/>
                  <a:gd name="connsiteX2" fmla="*/ 15145 w 41910"/>
                  <a:gd name="connsiteY2" fmla="*/ 50006 h 50006"/>
                  <a:gd name="connsiteX3" fmla="*/ 7334 w 41910"/>
                  <a:gd name="connsiteY3" fmla="*/ 47720 h 50006"/>
                  <a:gd name="connsiteX4" fmla="*/ 1905 w 41910"/>
                  <a:gd name="connsiteY4" fmla="*/ 42291 h 50006"/>
                  <a:gd name="connsiteX5" fmla="*/ 0 w 41910"/>
                  <a:gd name="connsiteY5" fmla="*/ 35814 h 50006"/>
                  <a:gd name="connsiteX6" fmla="*/ 0 w 41910"/>
                  <a:gd name="connsiteY6" fmla="*/ 14192 h 50006"/>
                  <a:gd name="connsiteX7" fmla="*/ 1905 w 41910"/>
                  <a:gd name="connsiteY7" fmla="*/ 7715 h 50006"/>
                  <a:gd name="connsiteX8" fmla="*/ 7334 w 41910"/>
                  <a:gd name="connsiteY8" fmla="*/ 2286 h 50006"/>
                  <a:gd name="connsiteX9" fmla="*/ 15145 w 41910"/>
                  <a:gd name="connsiteY9" fmla="*/ 0 h 50006"/>
                  <a:gd name="connsiteX10" fmla="*/ 26479 w 41910"/>
                  <a:gd name="connsiteY10" fmla="*/ 0 h 50006"/>
                  <a:gd name="connsiteX11" fmla="*/ 34290 w 41910"/>
                  <a:gd name="connsiteY11" fmla="*/ 2286 h 50006"/>
                  <a:gd name="connsiteX12" fmla="*/ 39719 w 41910"/>
                  <a:gd name="connsiteY12" fmla="*/ 7715 h 50006"/>
                  <a:gd name="connsiteX13" fmla="*/ 41529 w 41910"/>
                  <a:gd name="connsiteY13" fmla="*/ 14192 h 50006"/>
                  <a:gd name="connsiteX14" fmla="*/ 41529 w 41910"/>
                  <a:gd name="connsiteY14" fmla="*/ 28765 h 50006"/>
                  <a:gd name="connsiteX15" fmla="*/ 8858 w 41910"/>
                  <a:gd name="connsiteY15" fmla="*/ 28765 h 50006"/>
                  <a:gd name="connsiteX16" fmla="*/ 8858 w 41910"/>
                  <a:gd name="connsiteY16" fmla="*/ 35528 h 50006"/>
                  <a:gd name="connsiteX17" fmla="*/ 9049 w 41910"/>
                  <a:gd name="connsiteY17" fmla="*/ 36766 h 50006"/>
                  <a:gd name="connsiteX18" fmla="*/ 15145 w 41910"/>
                  <a:gd name="connsiteY18" fmla="*/ 41624 h 50006"/>
                  <a:gd name="connsiteX19" fmla="*/ 26956 w 41910"/>
                  <a:gd name="connsiteY19" fmla="*/ 41624 h 50006"/>
                  <a:gd name="connsiteX20" fmla="*/ 28289 w 41910"/>
                  <a:gd name="connsiteY20" fmla="*/ 41339 h 50006"/>
                  <a:gd name="connsiteX21" fmla="*/ 32956 w 41910"/>
                  <a:gd name="connsiteY21" fmla="*/ 36766 h 50006"/>
                  <a:gd name="connsiteX22" fmla="*/ 33623 w 41910"/>
                  <a:gd name="connsiteY22" fmla="*/ 35528 h 50006"/>
                  <a:gd name="connsiteX23" fmla="*/ 41910 w 41910"/>
                  <a:gd name="connsiteY23" fmla="*/ 38195 h 50006"/>
                  <a:gd name="connsiteX24" fmla="*/ 34480 w 41910"/>
                  <a:gd name="connsiteY24" fmla="*/ 47625 h 50006"/>
                  <a:gd name="connsiteX25" fmla="*/ 32766 w 41910"/>
                  <a:gd name="connsiteY25" fmla="*/ 14383 h 50006"/>
                  <a:gd name="connsiteX26" fmla="*/ 32671 w 41910"/>
                  <a:gd name="connsiteY26" fmla="*/ 13144 h 50006"/>
                  <a:gd name="connsiteX27" fmla="*/ 27813 w 41910"/>
                  <a:gd name="connsiteY27" fmla="*/ 8572 h 50006"/>
                  <a:gd name="connsiteX28" fmla="*/ 26479 w 41910"/>
                  <a:gd name="connsiteY28" fmla="*/ 8191 h 50006"/>
                  <a:gd name="connsiteX29" fmla="*/ 15240 w 41910"/>
                  <a:gd name="connsiteY29" fmla="*/ 8191 h 50006"/>
                  <a:gd name="connsiteX30" fmla="*/ 9144 w 41910"/>
                  <a:gd name="connsiteY30" fmla="*/ 13049 h 50006"/>
                  <a:gd name="connsiteX31" fmla="*/ 8953 w 41910"/>
                  <a:gd name="connsiteY31" fmla="*/ 14288 h 50006"/>
                  <a:gd name="connsiteX32" fmla="*/ 8953 w 41910"/>
                  <a:gd name="connsiteY32" fmla="*/ 20479 h 50006"/>
                  <a:gd name="connsiteX33" fmla="*/ 32861 w 41910"/>
                  <a:gd name="connsiteY33" fmla="*/ 20479 h 50006"/>
                  <a:gd name="connsiteX34" fmla="*/ 32861 w 41910"/>
                  <a:gd name="connsiteY34" fmla="*/ 14288 h 50006"/>
                  <a:gd name="connsiteX35" fmla="*/ 32861 w 41910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910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430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857" y="6477"/>
                      <a:pt x="5620" y="3524"/>
                      <a:pt x="7334" y="2286"/>
                    </a:cubicBezTo>
                    <a:cubicBezTo>
                      <a:pt x="9334" y="762"/>
                      <a:pt x="12382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910" y="38195"/>
                    </a:lnTo>
                    <a:cubicBezTo>
                      <a:pt x="40481" y="41624"/>
                      <a:pt x="37338" y="45625"/>
                      <a:pt x="34480" y="47625"/>
                    </a:cubicBezTo>
                    <a:moveTo>
                      <a:pt x="32766" y="14383"/>
                    </a:move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525"/>
                      <a:pt x="27813" y="8572"/>
                    </a:cubicBezTo>
                    <a:cubicBezTo>
                      <a:pt x="27527" y="8477"/>
                      <a:pt x="27146" y="8191"/>
                      <a:pt x="26479" y="8191"/>
                    </a:cubicBezTo>
                    <a:lnTo>
                      <a:pt x="15240" y="8191"/>
                    </a:lnTo>
                    <a:cubicBezTo>
                      <a:pt x="13049" y="8191"/>
                      <a:pt x="10001" y="11430"/>
                      <a:pt x="9144" y="13049"/>
                    </a:cubicBezTo>
                    <a:cubicBezTo>
                      <a:pt x="9049" y="13144"/>
                      <a:pt x="8953" y="13621"/>
                      <a:pt x="8953" y="14288"/>
                    </a:cubicBezTo>
                    <a:lnTo>
                      <a:pt x="8953" y="20479"/>
                    </a:lnTo>
                    <a:lnTo>
                      <a:pt x="32861" y="20479"/>
                    </a:lnTo>
                    <a:lnTo>
                      <a:pt x="32861" y="14288"/>
                    </a:lnTo>
                    <a:lnTo>
                      <a:pt x="32861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8D8A44B4-1F9F-48DE-B118-D4E5CE97743D}"/>
                  </a:ext>
                </a:extLst>
              </p:cNvPr>
              <p:cNvSpPr/>
              <p:nvPr/>
            </p:nvSpPr>
            <p:spPr>
              <a:xfrm>
                <a:off x="8996379" y="5458484"/>
                <a:ext cx="41719" cy="49244"/>
              </a:xfrm>
              <a:custGeom>
                <a:avLst/>
                <a:gdLst>
                  <a:gd name="connsiteX0" fmla="*/ 32861 w 41719"/>
                  <a:gd name="connsiteY0" fmla="*/ 48863 h 49244"/>
                  <a:gd name="connsiteX1" fmla="*/ 32385 w 41719"/>
                  <a:gd name="connsiteY1" fmla="*/ 44863 h 49244"/>
                  <a:gd name="connsiteX2" fmla="*/ 23527 w 41719"/>
                  <a:gd name="connsiteY2" fmla="*/ 49244 h 49244"/>
                  <a:gd name="connsiteX3" fmla="*/ 15049 w 41719"/>
                  <a:gd name="connsiteY3" fmla="*/ 49244 h 49244"/>
                  <a:gd name="connsiteX4" fmla="*/ 7239 w 41719"/>
                  <a:gd name="connsiteY4" fmla="*/ 46958 h 49244"/>
                  <a:gd name="connsiteX5" fmla="*/ 1810 w 41719"/>
                  <a:gd name="connsiteY5" fmla="*/ 41529 h 49244"/>
                  <a:gd name="connsiteX6" fmla="*/ 0 w 41719"/>
                  <a:gd name="connsiteY6" fmla="*/ 35052 h 49244"/>
                  <a:gd name="connsiteX7" fmla="*/ 0 w 41719"/>
                  <a:gd name="connsiteY7" fmla="*/ 0 h 49244"/>
                  <a:gd name="connsiteX8" fmla="*/ 8858 w 41719"/>
                  <a:gd name="connsiteY8" fmla="*/ 0 h 49244"/>
                  <a:gd name="connsiteX9" fmla="*/ 8858 w 41719"/>
                  <a:gd name="connsiteY9" fmla="*/ 34862 h 49244"/>
                  <a:gd name="connsiteX10" fmla="*/ 8953 w 41719"/>
                  <a:gd name="connsiteY10" fmla="*/ 36100 h 49244"/>
                  <a:gd name="connsiteX11" fmla="*/ 13811 w 41719"/>
                  <a:gd name="connsiteY11" fmla="*/ 40767 h 49244"/>
                  <a:gd name="connsiteX12" fmla="*/ 15145 w 41719"/>
                  <a:gd name="connsiteY12" fmla="*/ 40957 h 49244"/>
                  <a:gd name="connsiteX13" fmla="*/ 23146 w 41719"/>
                  <a:gd name="connsiteY13" fmla="*/ 40957 h 49244"/>
                  <a:gd name="connsiteX14" fmla="*/ 31909 w 41719"/>
                  <a:gd name="connsiteY14" fmla="*/ 35243 h 49244"/>
                  <a:gd name="connsiteX15" fmla="*/ 31909 w 41719"/>
                  <a:gd name="connsiteY15" fmla="*/ 95 h 49244"/>
                  <a:gd name="connsiteX16" fmla="*/ 40767 w 41719"/>
                  <a:gd name="connsiteY16" fmla="*/ 95 h 49244"/>
                  <a:gd name="connsiteX17" fmla="*/ 40767 w 41719"/>
                  <a:gd name="connsiteY17" fmla="*/ 39815 h 49244"/>
                  <a:gd name="connsiteX18" fmla="*/ 41720 w 41719"/>
                  <a:gd name="connsiteY18" fmla="*/ 48863 h 49244"/>
                  <a:gd name="connsiteX19" fmla="*/ 32861 w 41719"/>
                  <a:gd name="connsiteY19" fmla="*/ 48863 h 4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244">
                    <a:moveTo>
                      <a:pt x="32861" y="48863"/>
                    </a:moveTo>
                    <a:lnTo>
                      <a:pt x="32385" y="44863"/>
                    </a:lnTo>
                    <a:cubicBezTo>
                      <a:pt x="30099" y="46863"/>
                      <a:pt x="26765" y="49244"/>
                      <a:pt x="23527" y="49244"/>
                    </a:cubicBezTo>
                    <a:lnTo>
                      <a:pt x="15049" y="49244"/>
                    </a:lnTo>
                    <a:cubicBezTo>
                      <a:pt x="12382" y="49244"/>
                      <a:pt x="9334" y="48482"/>
                      <a:pt x="7239" y="46958"/>
                    </a:cubicBezTo>
                    <a:cubicBezTo>
                      <a:pt x="5524" y="45720"/>
                      <a:pt x="2762" y="42767"/>
                      <a:pt x="1810" y="41529"/>
                    </a:cubicBezTo>
                    <a:cubicBezTo>
                      <a:pt x="476" y="39624"/>
                      <a:pt x="0" y="37338"/>
                      <a:pt x="0" y="35052"/>
                    </a:cubicBezTo>
                    <a:lnTo>
                      <a:pt x="0" y="0"/>
                    </a:lnTo>
                    <a:lnTo>
                      <a:pt x="8858" y="0"/>
                    </a:lnTo>
                    <a:lnTo>
                      <a:pt x="8858" y="34862"/>
                    </a:lnTo>
                    <a:cubicBezTo>
                      <a:pt x="8858" y="34862"/>
                      <a:pt x="8858" y="35909"/>
                      <a:pt x="8953" y="36100"/>
                    </a:cubicBezTo>
                    <a:cubicBezTo>
                      <a:pt x="9906" y="37719"/>
                      <a:pt x="12287" y="39815"/>
                      <a:pt x="13811" y="40767"/>
                    </a:cubicBezTo>
                    <a:cubicBezTo>
                      <a:pt x="14097" y="40862"/>
                      <a:pt x="14478" y="40957"/>
                      <a:pt x="15145" y="40957"/>
                    </a:cubicBezTo>
                    <a:lnTo>
                      <a:pt x="23146" y="40957"/>
                    </a:lnTo>
                    <a:cubicBezTo>
                      <a:pt x="25336" y="40957"/>
                      <a:pt x="30671" y="36671"/>
                      <a:pt x="31909" y="35243"/>
                    </a:cubicBezTo>
                    <a:lnTo>
                      <a:pt x="31909" y="95"/>
                    </a:lnTo>
                    <a:lnTo>
                      <a:pt x="40767" y="95"/>
                    </a:lnTo>
                    <a:lnTo>
                      <a:pt x="40767" y="39815"/>
                    </a:lnTo>
                    <a:lnTo>
                      <a:pt x="41720" y="48863"/>
                    </a:lnTo>
                    <a:lnTo>
                      <a:pt x="32861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9917210A-882D-4B99-B74E-57854A4526FE}"/>
                  </a:ext>
                </a:extLst>
              </p:cNvPr>
              <p:cNvSpPr/>
              <p:nvPr/>
            </p:nvSpPr>
            <p:spPr>
              <a:xfrm>
                <a:off x="9049529" y="5439338"/>
                <a:ext cx="31813" cy="67913"/>
              </a:xfrm>
              <a:custGeom>
                <a:avLst/>
                <a:gdLst>
                  <a:gd name="connsiteX0" fmla="*/ 16764 w 31813"/>
                  <a:gd name="connsiteY0" fmla="*/ 27432 h 67913"/>
                  <a:gd name="connsiteX1" fmla="*/ 16764 w 31813"/>
                  <a:gd name="connsiteY1" fmla="*/ 53340 h 67913"/>
                  <a:gd name="connsiteX2" fmla="*/ 16955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764" y="27432"/>
                    </a:moveTo>
                    <a:lnTo>
                      <a:pt x="16764" y="53340"/>
                    </a:lnTo>
                    <a:cubicBezTo>
                      <a:pt x="16764" y="54102"/>
                      <a:pt x="16859" y="54673"/>
                      <a:pt x="16955" y="54769"/>
                    </a:cubicBezTo>
                    <a:cubicBezTo>
                      <a:pt x="17907" y="56388"/>
                      <a:pt x="19907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384" y="67913"/>
                      <a:pt x="17431" y="67151"/>
                      <a:pt x="15335" y="65627"/>
                    </a:cubicBezTo>
                    <a:cubicBezTo>
                      <a:pt x="13621" y="64389"/>
                      <a:pt x="10859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F56F15E2-2878-4E4A-AB7B-DA021A099B7F}"/>
                  </a:ext>
                </a:extLst>
              </p:cNvPr>
              <p:cNvSpPr/>
              <p:nvPr/>
            </p:nvSpPr>
            <p:spPr>
              <a:xfrm>
                <a:off x="9095634" y="5439529"/>
                <a:ext cx="9715" cy="67818"/>
              </a:xfrm>
              <a:custGeom>
                <a:avLst/>
                <a:gdLst>
                  <a:gd name="connsiteX0" fmla="*/ 952 w 9715"/>
                  <a:gd name="connsiteY0" fmla="*/ 67818 h 67817"/>
                  <a:gd name="connsiteX1" fmla="*/ 381 w 9715"/>
                  <a:gd name="connsiteY1" fmla="*/ 63627 h 67817"/>
                  <a:gd name="connsiteX2" fmla="*/ 0 w 9715"/>
                  <a:gd name="connsiteY2" fmla="*/ 60484 h 67817"/>
                  <a:gd name="connsiteX3" fmla="*/ 0 w 9715"/>
                  <a:gd name="connsiteY3" fmla="*/ 0 h 67817"/>
                  <a:gd name="connsiteX4" fmla="*/ 8573 w 9715"/>
                  <a:gd name="connsiteY4" fmla="*/ 0 h 67817"/>
                  <a:gd name="connsiteX5" fmla="*/ 8573 w 9715"/>
                  <a:gd name="connsiteY5" fmla="*/ 59150 h 67817"/>
                  <a:gd name="connsiteX6" fmla="*/ 9716 w 9715"/>
                  <a:gd name="connsiteY6" fmla="*/ 67818 h 67817"/>
                  <a:gd name="connsiteX7" fmla="*/ 857 w 9715"/>
                  <a:gd name="connsiteY7" fmla="*/ 67818 h 6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15" h="67817">
                    <a:moveTo>
                      <a:pt x="952" y="67818"/>
                    </a:moveTo>
                    <a:cubicBezTo>
                      <a:pt x="762" y="66199"/>
                      <a:pt x="571" y="64865"/>
                      <a:pt x="381" y="63627"/>
                    </a:cubicBezTo>
                    <a:cubicBezTo>
                      <a:pt x="191" y="62389"/>
                      <a:pt x="0" y="61341"/>
                      <a:pt x="0" y="60484"/>
                    </a:cubicBezTo>
                    <a:lnTo>
                      <a:pt x="0" y="0"/>
                    </a:lnTo>
                    <a:lnTo>
                      <a:pt x="8573" y="0"/>
                    </a:lnTo>
                    <a:lnTo>
                      <a:pt x="8573" y="59150"/>
                    </a:lnTo>
                    <a:cubicBezTo>
                      <a:pt x="8573" y="61531"/>
                      <a:pt x="9144" y="64675"/>
                      <a:pt x="9716" y="67818"/>
                    </a:cubicBezTo>
                    <a:lnTo>
                      <a:pt x="857" y="6781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8ACD0431-5377-4D0A-9AB5-58C3DE536663}"/>
                  </a:ext>
                </a:extLst>
              </p:cNvPr>
              <p:cNvSpPr/>
              <p:nvPr/>
            </p:nvSpPr>
            <p:spPr>
              <a:xfrm>
                <a:off x="9124681" y="5438862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70D3756E-37CE-48D3-B979-74C3D236BF01}"/>
                  </a:ext>
                </a:extLst>
              </p:cNvPr>
              <p:cNvSpPr/>
              <p:nvPr/>
            </p:nvSpPr>
            <p:spPr>
              <a:xfrm>
                <a:off x="9148974" y="5458008"/>
                <a:ext cx="41719" cy="49340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80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3 w 41719"/>
                  <a:gd name="connsiteY8" fmla="*/ 49339 h 49339"/>
                  <a:gd name="connsiteX9" fmla="*/ 953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20 w 41719"/>
                  <a:gd name="connsiteY17" fmla="*/ 14192 h 49339"/>
                  <a:gd name="connsiteX18" fmla="*/ 41720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430"/>
                      <a:pt x="27813" y="8477"/>
                    </a:cubicBezTo>
                    <a:cubicBezTo>
                      <a:pt x="27432" y="8382"/>
                      <a:pt x="27146" y="8287"/>
                      <a:pt x="26480" y="8287"/>
                    </a:cubicBezTo>
                    <a:lnTo>
                      <a:pt x="18479" y="8287"/>
                    </a:lnTo>
                    <a:cubicBezTo>
                      <a:pt x="16383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3" y="49339"/>
                    </a:lnTo>
                    <a:lnTo>
                      <a:pt x="953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337" y="0"/>
                      <a:pt x="32480" y="762"/>
                      <a:pt x="34481" y="2286"/>
                    </a:cubicBezTo>
                    <a:cubicBezTo>
                      <a:pt x="36195" y="3524"/>
                      <a:pt x="39053" y="6477"/>
                      <a:pt x="39910" y="7715"/>
                    </a:cubicBezTo>
                    <a:cubicBezTo>
                      <a:pt x="41243" y="9620"/>
                      <a:pt x="41720" y="11906"/>
                      <a:pt x="41720" y="14192"/>
                    </a:cubicBezTo>
                    <a:lnTo>
                      <a:pt x="41720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8661BCD6-E256-48CC-85F0-A5684CACEE5F}"/>
                  </a:ext>
                </a:extLst>
              </p:cNvPr>
              <p:cNvSpPr/>
              <p:nvPr/>
            </p:nvSpPr>
            <p:spPr>
              <a:xfrm>
                <a:off x="9205268" y="5458008"/>
                <a:ext cx="42862" cy="68770"/>
              </a:xfrm>
              <a:custGeom>
                <a:avLst/>
                <a:gdLst>
                  <a:gd name="connsiteX0" fmla="*/ 42005 w 42862"/>
                  <a:gd name="connsiteY0" fmla="*/ 9715 h 68770"/>
                  <a:gd name="connsiteX1" fmla="*/ 42005 w 42862"/>
                  <a:gd name="connsiteY1" fmla="*/ 54388 h 68770"/>
                  <a:gd name="connsiteX2" fmla="*/ 40196 w 42862"/>
                  <a:gd name="connsiteY2" fmla="*/ 60960 h 68770"/>
                  <a:gd name="connsiteX3" fmla="*/ 34766 w 42862"/>
                  <a:gd name="connsiteY3" fmla="*/ 66389 h 68770"/>
                  <a:gd name="connsiteX4" fmla="*/ 26956 w 42862"/>
                  <a:gd name="connsiteY4" fmla="*/ 68770 h 68770"/>
                  <a:gd name="connsiteX5" fmla="*/ 15621 w 42862"/>
                  <a:gd name="connsiteY5" fmla="*/ 68770 h 68770"/>
                  <a:gd name="connsiteX6" fmla="*/ 7906 w 42862"/>
                  <a:gd name="connsiteY6" fmla="*/ 66389 h 68770"/>
                  <a:gd name="connsiteX7" fmla="*/ 286 w 42862"/>
                  <a:gd name="connsiteY7" fmla="*/ 56864 h 68770"/>
                  <a:gd name="connsiteX8" fmla="*/ 8573 w 42862"/>
                  <a:gd name="connsiteY8" fmla="*/ 54197 h 68770"/>
                  <a:gd name="connsiteX9" fmla="*/ 15240 w 42862"/>
                  <a:gd name="connsiteY9" fmla="*/ 60579 h 68770"/>
                  <a:gd name="connsiteX10" fmla="*/ 26765 w 42862"/>
                  <a:gd name="connsiteY10" fmla="*/ 60579 h 68770"/>
                  <a:gd name="connsiteX11" fmla="*/ 28099 w 42862"/>
                  <a:gd name="connsiteY11" fmla="*/ 60198 h 68770"/>
                  <a:gd name="connsiteX12" fmla="*/ 33052 w 42862"/>
                  <a:gd name="connsiteY12" fmla="*/ 55150 h 68770"/>
                  <a:gd name="connsiteX13" fmla="*/ 33052 w 42862"/>
                  <a:gd name="connsiteY13" fmla="*/ 45625 h 68770"/>
                  <a:gd name="connsiteX14" fmla="*/ 24384 w 42862"/>
                  <a:gd name="connsiteY14" fmla="*/ 49911 h 68770"/>
                  <a:gd name="connsiteX15" fmla="*/ 15050 w 42862"/>
                  <a:gd name="connsiteY15" fmla="*/ 49911 h 68770"/>
                  <a:gd name="connsiteX16" fmla="*/ 7239 w 42862"/>
                  <a:gd name="connsiteY16" fmla="*/ 47625 h 68770"/>
                  <a:gd name="connsiteX17" fmla="*/ 1810 w 42862"/>
                  <a:gd name="connsiteY17" fmla="*/ 42101 h 68770"/>
                  <a:gd name="connsiteX18" fmla="*/ 0 w 42862"/>
                  <a:gd name="connsiteY18" fmla="*/ 35528 h 68770"/>
                  <a:gd name="connsiteX19" fmla="*/ 0 w 42862"/>
                  <a:gd name="connsiteY19" fmla="*/ 14383 h 68770"/>
                  <a:gd name="connsiteX20" fmla="*/ 1810 w 42862"/>
                  <a:gd name="connsiteY20" fmla="*/ 7810 h 68770"/>
                  <a:gd name="connsiteX21" fmla="*/ 7239 w 42862"/>
                  <a:gd name="connsiteY21" fmla="*/ 2286 h 68770"/>
                  <a:gd name="connsiteX22" fmla="*/ 15050 w 42862"/>
                  <a:gd name="connsiteY22" fmla="*/ 0 h 68770"/>
                  <a:gd name="connsiteX23" fmla="*/ 24384 w 42862"/>
                  <a:gd name="connsiteY23" fmla="*/ 0 h 68770"/>
                  <a:gd name="connsiteX24" fmla="*/ 33528 w 42862"/>
                  <a:gd name="connsiteY24" fmla="*/ 4763 h 68770"/>
                  <a:gd name="connsiteX25" fmla="*/ 34004 w 42862"/>
                  <a:gd name="connsiteY25" fmla="*/ 571 h 68770"/>
                  <a:gd name="connsiteX26" fmla="*/ 42863 w 42862"/>
                  <a:gd name="connsiteY26" fmla="*/ 571 h 68770"/>
                  <a:gd name="connsiteX27" fmla="*/ 42005 w 42862"/>
                  <a:gd name="connsiteY27" fmla="*/ 9715 h 68770"/>
                  <a:gd name="connsiteX28" fmla="*/ 33242 w 42862"/>
                  <a:gd name="connsiteY28" fmla="*/ 14859 h 68770"/>
                  <a:gd name="connsiteX29" fmla="*/ 24098 w 42862"/>
                  <a:gd name="connsiteY29" fmla="*/ 8287 h 68770"/>
                  <a:gd name="connsiteX30" fmla="*/ 15240 w 42862"/>
                  <a:gd name="connsiteY30" fmla="*/ 8287 h 68770"/>
                  <a:gd name="connsiteX31" fmla="*/ 13906 w 42862"/>
                  <a:gd name="connsiteY31" fmla="*/ 8668 h 68770"/>
                  <a:gd name="connsiteX32" fmla="*/ 9049 w 42862"/>
                  <a:gd name="connsiteY32" fmla="*/ 13430 h 68770"/>
                  <a:gd name="connsiteX33" fmla="*/ 8858 w 42862"/>
                  <a:gd name="connsiteY33" fmla="*/ 14668 h 68770"/>
                  <a:gd name="connsiteX34" fmla="*/ 8858 w 42862"/>
                  <a:gd name="connsiteY34" fmla="*/ 35338 h 68770"/>
                  <a:gd name="connsiteX35" fmla="*/ 9049 w 42862"/>
                  <a:gd name="connsiteY35" fmla="*/ 36576 h 68770"/>
                  <a:gd name="connsiteX36" fmla="*/ 13906 w 42862"/>
                  <a:gd name="connsiteY36" fmla="*/ 41434 h 68770"/>
                  <a:gd name="connsiteX37" fmla="*/ 15240 w 42862"/>
                  <a:gd name="connsiteY37" fmla="*/ 41624 h 68770"/>
                  <a:gd name="connsiteX38" fmla="*/ 24098 w 42862"/>
                  <a:gd name="connsiteY38" fmla="*/ 41624 h 68770"/>
                  <a:gd name="connsiteX39" fmla="*/ 25146 w 42862"/>
                  <a:gd name="connsiteY39" fmla="*/ 41529 h 68770"/>
                  <a:gd name="connsiteX40" fmla="*/ 33338 w 42862"/>
                  <a:gd name="connsiteY40" fmla="*/ 35052 h 68770"/>
                  <a:gd name="connsiteX41" fmla="*/ 33338 w 42862"/>
                  <a:gd name="connsiteY41" fmla="*/ 14764 h 68770"/>
                  <a:gd name="connsiteX42" fmla="*/ 33338 w 42862"/>
                  <a:gd name="connsiteY42" fmla="*/ 14764 h 6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2862" h="68770">
                    <a:moveTo>
                      <a:pt x="42005" y="9715"/>
                    </a:moveTo>
                    <a:lnTo>
                      <a:pt x="42005" y="54388"/>
                    </a:lnTo>
                    <a:cubicBezTo>
                      <a:pt x="42005" y="56769"/>
                      <a:pt x="41529" y="59055"/>
                      <a:pt x="40196" y="60960"/>
                    </a:cubicBezTo>
                    <a:cubicBezTo>
                      <a:pt x="39243" y="62198"/>
                      <a:pt x="36481" y="65151"/>
                      <a:pt x="34766" y="66389"/>
                    </a:cubicBezTo>
                    <a:cubicBezTo>
                      <a:pt x="32766" y="67818"/>
                      <a:pt x="29527" y="68770"/>
                      <a:pt x="26956" y="68770"/>
                    </a:cubicBezTo>
                    <a:lnTo>
                      <a:pt x="15621" y="68770"/>
                    </a:lnTo>
                    <a:cubicBezTo>
                      <a:pt x="13049" y="68770"/>
                      <a:pt x="10001" y="67913"/>
                      <a:pt x="7906" y="66389"/>
                    </a:cubicBezTo>
                    <a:cubicBezTo>
                      <a:pt x="5334" y="64579"/>
                      <a:pt x="1715" y="60293"/>
                      <a:pt x="286" y="56864"/>
                    </a:cubicBezTo>
                    <a:lnTo>
                      <a:pt x="8573" y="54197"/>
                    </a:lnTo>
                    <a:cubicBezTo>
                      <a:pt x="9715" y="56483"/>
                      <a:pt x="12763" y="60579"/>
                      <a:pt x="15240" y="60579"/>
                    </a:cubicBezTo>
                    <a:lnTo>
                      <a:pt x="26765" y="60579"/>
                    </a:lnTo>
                    <a:cubicBezTo>
                      <a:pt x="27432" y="60579"/>
                      <a:pt x="27813" y="60389"/>
                      <a:pt x="28099" y="60198"/>
                    </a:cubicBezTo>
                    <a:cubicBezTo>
                      <a:pt x="29337" y="59531"/>
                      <a:pt x="32956" y="56483"/>
                      <a:pt x="33052" y="55150"/>
                    </a:cubicBezTo>
                    <a:lnTo>
                      <a:pt x="33052" y="45625"/>
                    </a:lnTo>
                    <a:cubicBezTo>
                      <a:pt x="30766" y="47720"/>
                      <a:pt x="27527" y="49911"/>
                      <a:pt x="24384" y="49911"/>
                    </a:cubicBezTo>
                    <a:lnTo>
                      <a:pt x="15050" y="49911"/>
                    </a:lnTo>
                    <a:cubicBezTo>
                      <a:pt x="12478" y="49911"/>
                      <a:pt x="9334" y="49149"/>
                      <a:pt x="7239" y="47625"/>
                    </a:cubicBezTo>
                    <a:cubicBezTo>
                      <a:pt x="5525" y="46387"/>
                      <a:pt x="2667" y="43339"/>
                      <a:pt x="1810" y="42101"/>
                    </a:cubicBezTo>
                    <a:cubicBezTo>
                      <a:pt x="476" y="40195"/>
                      <a:pt x="0" y="37909"/>
                      <a:pt x="0" y="35528"/>
                    </a:cubicBezTo>
                    <a:lnTo>
                      <a:pt x="0" y="14383"/>
                    </a:lnTo>
                    <a:cubicBezTo>
                      <a:pt x="0" y="12001"/>
                      <a:pt x="476" y="9715"/>
                      <a:pt x="1810" y="7810"/>
                    </a:cubicBezTo>
                    <a:cubicBezTo>
                      <a:pt x="2762" y="6572"/>
                      <a:pt x="5525" y="3524"/>
                      <a:pt x="7239" y="2286"/>
                    </a:cubicBezTo>
                    <a:cubicBezTo>
                      <a:pt x="9239" y="762"/>
                      <a:pt x="12478" y="0"/>
                      <a:pt x="15050" y="0"/>
                    </a:cubicBezTo>
                    <a:lnTo>
                      <a:pt x="24384" y="0"/>
                    </a:lnTo>
                    <a:cubicBezTo>
                      <a:pt x="27813" y="0"/>
                      <a:pt x="31147" y="2572"/>
                      <a:pt x="33528" y="4763"/>
                    </a:cubicBezTo>
                    <a:lnTo>
                      <a:pt x="34004" y="571"/>
                    </a:lnTo>
                    <a:lnTo>
                      <a:pt x="42863" y="571"/>
                    </a:lnTo>
                    <a:lnTo>
                      <a:pt x="42005" y="9715"/>
                    </a:lnTo>
                    <a:close/>
                    <a:moveTo>
                      <a:pt x="33242" y="14859"/>
                    </a:moveTo>
                    <a:cubicBezTo>
                      <a:pt x="31909" y="13240"/>
                      <a:pt x="26479" y="8287"/>
                      <a:pt x="24098" y="8287"/>
                    </a:cubicBezTo>
                    <a:lnTo>
                      <a:pt x="15240" y="8287"/>
                    </a:lnTo>
                    <a:cubicBezTo>
                      <a:pt x="14573" y="8287"/>
                      <a:pt x="14192" y="8477"/>
                      <a:pt x="13906" y="8668"/>
                    </a:cubicBezTo>
                    <a:cubicBezTo>
                      <a:pt x="12287" y="9525"/>
                      <a:pt x="9906" y="11811"/>
                      <a:pt x="9049" y="13430"/>
                    </a:cubicBezTo>
                    <a:cubicBezTo>
                      <a:pt x="8954" y="13526"/>
                      <a:pt x="8858" y="14002"/>
                      <a:pt x="8858" y="14668"/>
                    </a:cubicBezTo>
                    <a:lnTo>
                      <a:pt x="8858" y="35338"/>
                    </a:lnTo>
                    <a:cubicBezTo>
                      <a:pt x="8858" y="36004"/>
                      <a:pt x="8954" y="36481"/>
                      <a:pt x="9049" y="36576"/>
                    </a:cubicBezTo>
                    <a:cubicBezTo>
                      <a:pt x="10001" y="38195"/>
                      <a:pt x="12382" y="40576"/>
                      <a:pt x="13906" y="41434"/>
                    </a:cubicBezTo>
                    <a:cubicBezTo>
                      <a:pt x="14288" y="41529"/>
                      <a:pt x="14573" y="41624"/>
                      <a:pt x="15240" y="41624"/>
                    </a:cubicBezTo>
                    <a:lnTo>
                      <a:pt x="24098" y="41624"/>
                    </a:lnTo>
                    <a:cubicBezTo>
                      <a:pt x="24098" y="41624"/>
                      <a:pt x="24860" y="41624"/>
                      <a:pt x="25146" y="41529"/>
                    </a:cubicBezTo>
                    <a:cubicBezTo>
                      <a:pt x="27623" y="40291"/>
                      <a:pt x="31718" y="37147"/>
                      <a:pt x="33338" y="35052"/>
                    </a:cubicBezTo>
                    <a:lnTo>
                      <a:pt x="33338" y="14764"/>
                    </a:lnTo>
                    <a:lnTo>
                      <a:pt x="33338" y="1476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28EB71E9-8780-44CE-BA94-540ED15C002D}"/>
                  </a:ext>
                </a:extLst>
              </p:cNvPr>
              <p:cNvSpPr/>
              <p:nvPr/>
            </p:nvSpPr>
            <p:spPr>
              <a:xfrm>
                <a:off x="9262609" y="5457912"/>
                <a:ext cx="41815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6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383" y="50006"/>
                      <a:pt x="9335" y="49244"/>
                      <a:pt x="7334" y="47720"/>
                    </a:cubicBezTo>
                    <a:cubicBezTo>
                      <a:pt x="5620" y="46482"/>
                      <a:pt x="2858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5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4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4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6" y="13144"/>
                    </a:cubicBezTo>
                    <a:cubicBezTo>
                      <a:pt x="31623" y="11525"/>
                      <a:pt x="29242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4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0C455384-11DE-4A41-9D3B-A205189E9513}"/>
                  </a:ext>
                </a:extLst>
              </p:cNvPr>
              <p:cNvSpPr/>
              <p:nvPr/>
            </p:nvSpPr>
            <p:spPr>
              <a:xfrm>
                <a:off x="9318143" y="5458008"/>
                <a:ext cx="41719" cy="49340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9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1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D81AC43E-C1F5-4E0F-99AE-15B678A04170}"/>
                  </a:ext>
                </a:extLst>
              </p:cNvPr>
              <p:cNvSpPr/>
              <p:nvPr/>
            </p:nvSpPr>
            <p:spPr>
              <a:xfrm>
                <a:off x="9403194" y="5439434"/>
                <a:ext cx="47529" cy="68390"/>
              </a:xfrm>
              <a:custGeom>
                <a:avLst/>
                <a:gdLst>
                  <a:gd name="connsiteX0" fmla="*/ 46196 w 47529"/>
                  <a:gd name="connsiteY0" fmla="*/ 58579 h 68389"/>
                  <a:gd name="connsiteX1" fmla="*/ 38100 w 47529"/>
                  <a:gd name="connsiteY1" fmla="*/ 66484 h 68389"/>
                  <a:gd name="connsiteX2" fmla="*/ 31623 w 47529"/>
                  <a:gd name="connsiteY2" fmla="*/ 68390 h 68389"/>
                  <a:gd name="connsiteX3" fmla="*/ 16478 w 47529"/>
                  <a:gd name="connsiteY3" fmla="*/ 68390 h 68389"/>
                  <a:gd name="connsiteX4" fmla="*/ 9906 w 47529"/>
                  <a:gd name="connsiteY4" fmla="*/ 66484 h 68389"/>
                  <a:gd name="connsiteX5" fmla="*/ 1715 w 47529"/>
                  <a:gd name="connsiteY5" fmla="*/ 58579 h 68389"/>
                  <a:gd name="connsiteX6" fmla="*/ 0 w 47529"/>
                  <a:gd name="connsiteY6" fmla="*/ 52673 h 68389"/>
                  <a:gd name="connsiteX7" fmla="*/ 0 w 47529"/>
                  <a:gd name="connsiteY7" fmla="*/ 0 h 68389"/>
                  <a:gd name="connsiteX8" fmla="*/ 9239 w 47529"/>
                  <a:gd name="connsiteY8" fmla="*/ 0 h 68389"/>
                  <a:gd name="connsiteX9" fmla="*/ 9239 w 47529"/>
                  <a:gd name="connsiteY9" fmla="*/ 52483 h 68389"/>
                  <a:gd name="connsiteX10" fmla="*/ 16097 w 47529"/>
                  <a:gd name="connsiteY10" fmla="*/ 59531 h 68389"/>
                  <a:gd name="connsiteX11" fmla="*/ 16859 w 47529"/>
                  <a:gd name="connsiteY11" fmla="*/ 59627 h 68389"/>
                  <a:gd name="connsiteX12" fmla="*/ 30861 w 47529"/>
                  <a:gd name="connsiteY12" fmla="*/ 59627 h 68389"/>
                  <a:gd name="connsiteX13" fmla="*/ 31623 w 47529"/>
                  <a:gd name="connsiteY13" fmla="*/ 59531 h 68389"/>
                  <a:gd name="connsiteX14" fmla="*/ 38290 w 47529"/>
                  <a:gd name="connsiteY14" fmla="*/ 52483 h 68389"/>
                  <a:gd name="connsiteX15" fmla="*/ 38290 w 47529"/>
                  <a:gd name="connsiteY15" fmla="*/ 0 h 68389"/>
                  <a:gd name="connsiteX16" fmla="*/ 47530 w 47529"/>
                  <a:gd name="connsiteY16" fmla="*/ 0 h 68389"/>
                  <a:gd name="connsiteX17" fmla="*/ 47530 w 47529"/>
                  <a:gd name="connsiteY17" fmla="*/ 52673 h 68389"/>
                  <a:gd name="connsiteX18" fmla="*/ 45910 w 47529"/>
                  <a:gd name="connsiteY18" fmla="*/ 58579 h 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529" h="68389">
                    <a:moveTo>
                      <a:pt x="46196" y="58579"/>
                    </a:moveTo>
                    <a:cubicBezTo>
                      <a:pt x="44863" y="60579"/>
                      <a:pt x="40291" y="65151"/>
                      <a:pt x="38100" y="66484"/>
                    </a:cubicBezTo>
                    <a:cubicBezTo>
                      <a:pt x="36290" y="67532"/>
                      <a:pt x="33814" y="68390"/>
                      <a:pt x="31623" y="68390"/>
                    </a:cubicBezTo>
                    <a:lnTo>
                      <a:pt x="16478" y="68390"/>
                    </a:lnTo>
                    <a:cubicBezTo>
                      <a:pt x="14383" y="68390"/>
                      <a:pt x="11716" y="67437"/>
                      <a:pt x="9906" y="66484"/>
                    </a:cubicBezTo>
                    <a:cubicBezTo>
                      <a:pt x="7620" y="65151"/>
                      <a:pt x="3143" y="60579"/>
                      <a:pt x="1715" y="58579"/>
                    </a:cubicBezTo>
                    <a:cubicBezTo>
                      <a:pt x="476" y="56769"/>
                      <a:pt x="0" y="54769"/>
                      <a:pt x="0" y="52673"/>
                    </a:cubicBezTo>
                    <a:lnTo>
                      <a:pt x="0" y="0"/>
                    </a:lnTo>
                    <a:lnTo>
                      <a:pt x="9239" y="0"/>
                    </a:lnTo>
                    <a:lnTo>
                      <a:pt x="9239" y="52483"/>
                    </a:lnTo>
                    <a:cubicBezTo>
                      <a:pt x="9239" y="54197"/>
                      <a:pt x="14478" y="58674"/>
                      <a:pt x="16097" y="59531"/>
                    </a:cubicBezTo>
                    <a:cubicBezTo>
                      <a:pt x="16192" y="59531"/>
                      <a:pt x="16478" y="59627"/>
                      <a:pt x="16859" y="59627"/>
                    </a:cubicBezTo>
                    <a:lnTo>
                      <a:pt x="30861" y="59627"/>
                    </a:lnTo>
                    <a:cubicBezTo>
                      <a:pt x="30861" y="59627"/>
                      <a:pt x="31528" y="59531"/>
                      <a:pt x="31623" y="59531"/>
                    </a:cubicBezTo>
                    <a:cubicBezTo>
                      <a:pt x="33338" y="58769"/>
                      <a:pt x="38290" y="54102"/>
                      <a:pt x="38290" y="52483"/>
                    </a:cubicBezTo>
                    <a:lnTo>
                      <a:pt x="38290" y="0"/>
                    </a:lnTo>
                    <a:lnTo>
                      <a:pt x="47530" y="0"/>
                    </a:lnTo>
                    <a:lnTo>
                      <a:pt x="47530" y="52673"/>
                    </a:lnTo>
                    <a:cubicBezTo>
                      <a:pt x="47530" y="54769"/>
                      <a:pt x="47244" y="56769"/>
                      <a:pt x="45910" y="58579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38142987-0542-45BA-8DFA-1E355A480BD3}"/>
                  </a:ext>
                </a:extLst>
              </p:cNvPr>
              <p:cNvSpPr/>
              <p:nvPr/>
            </p:nvSpPr>
            <p:spPr>
              <a:xfrm>
                <a:off x="9465974" y="5458008"/>
                <a:ext cx="41719" cy="49340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8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4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0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956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8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0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0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956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597412CB-68E3-4B3F-B9D9-37D1C33E71ED}"/>
                  </a:ext>
                </a:extLst>
              </p:cNvPr>
              <p:cNvSpPr/>
              <p:nvPr/>
            </p:nvSpPr>
            <p:spPr>
              <a:xfrm>
                <a:off x="9524924" y="5438862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6 w 9715"/>
                  <a:gd name="connsiteY1" fmla="*/ 0 h 68484"/>
                  <a:gd name="connsiteX2" fmla="*/ 9716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5 w 9715"/>
                  <a:gd name="connsiteY6" fmla="*/ 19717 h 68484"/>
                  <a:gd name="connsiteX7" fmla="*/ 9335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6" y="0"/>
                    </a:lnTo>
                    <a:lnTo>
                      <a:pt x="9716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5" y="19717"/>
                    </a:lnTo>
                    <a:lnTo>
                      <a:pt x="9335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A84BE3D2-B28F-435A-8D7A-7B5768580418}"/>
                  </a:ext>
                </a:extLst>
              </p:cNvPr>
              <p:cNvSpPr/>
              <p:nvPr/>
            </p:nvSpPr>
            <p:spPr>
              <a:xfrm>
                <a:off x="9546917" y="5458484"/>
                <a:ext cx="44196" cy="48863"/>
              </a:xfrm>
              <a:custGeom>
                <a:avLst/>
                <a:gdLst>
                  <a:gd name="connsiteX0" fmla="*/ 27527 w 44195"/>
                  <a:gd name="connsiteY0" fmla="*/ 48863 h 48863"/>
                  <a:gd name="connsiteX1" fmla="*/ 16954 w 44195"/>
                  <a:gd name="connsiteY1" fmla="*/ 48863 h 48863"/>
                  <a:gd name="connsiteX2" fmla="*/ 0 w 44195"/>
                  <a:gd name="connsiteY2" fmla="*/ 0 h 48863"/>
                  <a:gd name="connsiteX3" fmla="*/ 9430 w 44195"/>
                  <a:gd name="connsiteY3" fmla="*/ 0 h 48863"/>
                  <a:gd name="connsiteX4" fmla="*/ 22098 w 44195"/>
                  <a:gd name="connsiteY4" fmla="*/ 38386 h 48863"/>
                  <a:gd name="connsiteX5" fmla="*/ 34861 w 44195"/>
                  <a:gd name="connsiteY5" fmla="*/ 0 h 48863"/>
                  <a:gd name="connsiteX6" fmla="*/ 44196 w 44195"/>
                  <a:gd name="connsiteY6" fmla="*/ 0 h 48863"/>
                  <a:gd name="connsiteX7" fmla="*/ 27527 w 44195"/>
                  <a:gd name="connsiteY7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195" h="48863">
                    <a:moveTo>
                      <a:pt x="27527" y="48863"/>
                    </a:moveTo>
                    <a:lnTo>
                      <a:pt x="16954" y="48863"/>
                    </a:lnTo>
                    <a:lnTo>
                      <a:pt x="0" y="0"/>
                    </a:lnTo>
                    <a:lnTo>
                      <a:pt x="9430" y="0"/>
                    </a:lnTo>
                    <a:lnTo>
                      <a:pt x="22098" y="38386"/>
                    </a:lnTo>
                    <a:lnTo>
                      <a:pt x="34861" y="0"/>
                    </a:lnTo>
                    <a:lnTo>
                      <a:pt x="44196" y="0"/>
                    </a:lnTo>
                    <a:lnTo>
                      <a:pt x="27527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4FF6F075-DDBD-48F2-92F7-7AFE2DABD21A}"/>
                  </a:ext>
                </a:extLst>
              </p:cNvPr>
              <p:cNvSpPr/>
              <p:nvPr/>
            </p:nvSpPr>
            <p:spPr>
              <a:xfrm>
                <a:off x="9601965" y="5457912"/>
                <a:ext cx="41814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5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334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1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1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4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242" y="0"/>
                      <a:pt x="32290" y="762"/>
                      <a:pt x="34290" y="2286"/>
                    </a:cubicBezTo>
                    <a:cubicBezTo>
                      <a:pt x="36004" y="3524"/>
                      <a:pt x="38767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2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5" y="13144"/>
                    </a:cubicBezTo>
                    <a:cubicBezTo>
                      <a:pt x="31623" y="11525"/>
                      <a:pt x="29337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3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4E8AE301-F218-4D21-B776-AB7A353D6749}"/>
                  </a:ext>
                </a:extLst>
              </p:cNvPr>
              <p:cNvSpPr/>
              <p:nvPr/>
            </p:nvSpPr>
            <p:spPr>
              <a:xfrm>
                <a:off x="9659803" y="5457912"/>
                <a:ext cx="39814" cy="49340"/>
              </a:xfrm>
              <a:custGeom>
                <a:avLst/>
                <a:gdLst>
                  <a:gd name="connsiteX0" fmla="*/ 31432 w 39814"/>
                  <a:gd name="connsiteY0" fmla="*/ 14383 h 49339"/>
                  <a:gd name="connsiteX1" fmla="*/ 24670 w 39814"/>
                  <a:gd name="connsiteY1" fmla="*/ 8287 h 49339"/>
                  <a:gd name="connsiteX2" fmla="*/ 18574 w 39814"/>
                  <a:gd name="connsiteY2" fmla="*/ 8287 h 49339"/>
                  <a:gd name="connsiteX3" fmla="*/ 9620 w 39814"/>
                  <a:gd name="connsiteY3" fmla="*/ 14383 h 49339"/>
                  <a:gd name="connsiteX4" fmla="*/ 9620 w 39814"/>
                  <a:gd name="connsiteY4" fmla="*/ 49340 h 49339"/>
                  <a:gd name="connsiteX5" fmla="*/ 762 w 39814"/>
                  <a:gd name="connsiteY5" fmla="*/ 49340 h 49339"/>
                  <a:gd name="connsiteX6" fmla="*/ 762 w 39814"/>
                  <a:gd name="connsiteY6" fmla="*/ 9620 h 49339"/>
                  <a:gd name="connsiteX7" fmla="*/ 0 w 39814"/>
                  <a:gd name="connsiteY7" fmla="*/ 571 h 49339"/>
                  <a:gd name="connsiteX8" fmla="*/ 8858 w 39814"/>
                  <a:gd name="connsiteY8" fmla="*/ 571 h 49339"/>
                  <a:gd name="connsiteX9" fmla="*/ 9334 w 39814"/>
                  <a:gd name="connsiteY9" fmla="*/ 4572 h 49339"/>
                  <a:gd name="connsiteX10" fmla="*/ 18288 w 39814"/>
                  <a:gd name="connsiteY10" fmla="*/ 0 h 49339"/>
                  <a:gd name="connsiteX11" fmla="*/ 24479 w 39814"/>
                  <a:gd name="connsiteY11" fmla="*/ 0 h 49339"/>
                  <a:gd name="connsiteX12" fmla="*/ 32194 w 39814"/>
                  <a:gd name="connsiteY12" fmla="*/ 2286 h 49339"/>
                  <a:gd name="connsiteX13" fmla="*/ 39815 w 39814"/>
                  <a:gd name="connsiteY13" fmla="*/ 11811 h 49339"/>
                  <a:gd name="connsiteX14" fmla="*/ 31528 w 39814"/>
                  <a:gd name="connsiteY14" fmla="*/ 14383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814" h="49339">
                    <a:moveTo>
                      <a:pt x="31432" y="14383"/>
                    </a:moveTo>
                    <a:cubicBezTo>
                      <a:pt x="30194" y="12002"/>
                      <a:pt x="27337" y="8287"/>
                      <a:pt x="24670" y="8287"/>
                    </a:cubicBezTo>
                    <a:lnTo>
                      <a:pt x="18574" y="8287"/>
                    </a:lnTo>
                    <a:cubicBezTo>
                      <a:pt x="16192" y="8287"/>
                      <a:pt x="10763" y="12668"/>
                      <a:pt x="9620" y="14383"/>
                    </a:cubicBezTo>
                    <a:lnTo>
                      <a:pt x="9620" y="49340"/>
                    </a:lnTo>
                    <a:lnTo>
                      <a:pt x="762" y="49340"/>
                    </a:lnTo>
                    <a:lnTo>
                      <a:pt x="76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1" y="2381"/>
                      <a:pt x="14954" y="0"/>
                      <a:pt x="18288" y="0"/>
                    </a:cubicBezTo>
                    <a:lnTo>
                      <a:pt x="24479" y="0"/>
                    </a:lnTo>
                    <a:cubicBezTo>
                      <a:pt x="27242" y="0"/>
                      <a:pt x="30099" y="762"/>
                      <a:pt x="32194" y="2286"/>
                    </a:cubicBezTo>
                    <a:cubicBezTo>
                      <a:pt x="34766" y="4096"/>
                      <a:pt x="38386" y="8477"/>
                      <a:pt x="39815" y="11811"/>
                    </a:cubicBezTo>
                    <a:lnTo>
                      <a:pt x="31528" y="14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9156876A-D7FA-4749-AE72-42DF8BB98CAB}"/>
                  </a:ext>
                </a:extLst>
              </p:cNvPr>
              <p:cNvSpPr/>
              <p:nvPr/>
            </p:nvSpPr>
            <p:spPr>
              <a:xfrm>
                <a:off x="9703428" y="5457912"/>
                <a:ext cx="43910" cy="49815"/>
              </a:xfrm>
              <a:custGeom>
                <a:avLst/>
                <a:gdLst>
                  <a:gd name="connsiteX0" fmla="*/ 35147 w 43910"/>
                  <a:gd name="connsiteY0" fmla="*/ 14573 h 49815"/>
                  <a:gd name="connsiteX1" fmla="*/ 28480 w 43910"/>
                  <a:gd name="connsiteY1" fmla="*/ 8382 h 49815"/>
                  <a:gd name="connsiteX2" fmla="*/ 16383 w 43910"/>
                  <a:gd name="connsiteY2" fmla="*/ 8382 h 49815"/>
                  <a:gd name="connsiteX3" fmla="*/ 15050 w 43910"/>
                  <a:gd name="connsiteY3" fmla="*/ 8572 h 49815"/>
                  <a:gd name="connsiteX4" fmla="*/ 10763 w 43910"/>
                  <a:gd name="connsiteY4" fmla="*/ 12859 h 49815"/>
                  <a:gd name="connsiteX5" fmla="*/ 10668 w 43910"/>
                  <a:gd name="connsiteY5" fmla="*/ 14097 h 49815"/>
                  <a:gd name="connsiteX6" fmla="*/ 10668 w 43910"/>
                  <a:gd name="connsiteY6" fmla="*/ 17240 h 49815"/>
                  <a:gd name="connsiteX7" fmla="*/ 13621 w 43910"/>
                  <a:gd name="connsiteY7" fmla="*/ 19812 h 49815"/>
                  <a:gd name="connsiteX8" fmla="*/ 32385 w 43910"/>
                  <a:gd name="connsiteY8" fmla="*/ 21145 h 49815"/>
                  <a:gd name="connsiteX9" fmla="*/ 43625 w 43910"/>
                  <a:gd name="connsiteY9" fmla="*/ 32194 h 49815"/>
                  <a:gd name="connsiteX10" fmla="*/ 43625 w 43910"/>
                  <a:gd name="connsiteY10" fmla="*/ 36004 h 49815"/>
                  <a:gd name="connsiteX11" fmla="*/ 41624 w 43910"/>
                  <a:gd name="connsiteY11" fmla="*/ 42481 h 49815"/>
                  <a:gd name="connsiteX12" fmla="*/ 36671 w 43910"/>
                  <a:gd name="connsiteY12" fmla="*/ 47530 h 49815"/>
                  <a:gd name="connsiteX13" fmla="*/ 28956 w 43910"/>
                  <a:gd name="connsiteY13" fmla="*/ 49816 h 49815"/>
                  <a:gd name="connsiteX14" fmla="*/ 15431 w 43910"/>
                  <a:gd name="connsiteY14" fmla="*/ 49816 h 49815"/>
                  <a:gd name="connsiteX15" fmla="*/ 7715 w 43910"/>
                  <a:gd name="connsiteY15" fmla="*/ 47530 h 49815"/>
                  <a:gd name="connsiteX16" fmla="*/ 0 w 43910"/>
                  <a:gd name="connsiteY16" fmla="*/ 38100 h 49815"/>
                  <a:gd name="connsiteX17" fmla="*/ 8477 w 43910"/>
                  <a:gd name="connsiteY17" fmla="*/ 35242 h 49815"/>
                  <a:gd name="connsiteX18" fmla="*/ 13811 w 43910"/>
                  <a:gd name="connsiteY18" fmla="*/ 41243 h 49815"/>
                  <a:gd name="connsiteX19" fmla="*/ 15145 w 43910"/>
                  <a:gd name="connsiteY19" fmla="*/ 41434 h 49815"/>
                  <a:gd name="connsiteX20" fmla="*/ 28861 w 43910"/>
                  <a:gd name="connsiteY20" fmla="*/ 41434 h 49815"/>
                  <a:gd name="connsiteX21" fmla="*/ 34671 w 43910"/>
                  <a:gd name="connsiteY21" fmla="*/ 36957 h 49815"/>
                  <a:gd name="connsiteX22" fmla="*/ 34862 w 43910"/>
                  <a:gd name="connsiteY22" fmla="*/ 35719 h 49815"/>
                  <a:gd name="connsiteX23" fmla="*/ 34862 w 43910"/>
                  <a:gd name="connsiteY23" fmla="*/ 31909 h 49815"/>
                  <a:gd name="connsiteX24" fmla="*/ 31813 w 43910"/>
                  <a:gd name="connsiteY24" fmla="*/ 29337 h 49815"/>
                  <a:gd name="connsiteX25" fmla="*/ 13049 w 43910"/>
                  <a:gd name="connsiteY25" fmla="*/ 28099 h 49815"/>
                  <a:gd name="connsiteX26" fmla="*/ 2000 w 43910"/>
                  <a:gd name="connsiteY26" fmla="*/ 17050 h 49815"/>
                  <a:gd name="connsiteX27" fmla="*/ 2000 w 43910"/>
                  <a:gd name="connsiteY27" fmla="*/ 13811 h 49815"/>
                  <a:gd name="connsiteX28" fmla="*/ 3905 w 43910"/>
                  <a:gd name="connsiteY28" fmla="*/ 7334 h 49815"/>
                  <a:gd name="connsiteX29" fmla="*/ 8858 w 43910"/>
                  <a:gd name="connsiteY29" fmla="*/ 2286 h 49815"/>
                  <a:gd name="connsiteX30" fmla="*/ 16574 w 43910"/>
                  <a:gd name="connsiteY30" fmla="*/ 0 h 49815"/>
                  <a:gd name="connsiteX31" fmla="*/ 28385 w 43910"/>
                  <a:gd name="connsiteY31" fmla="*/ 0 h 49815"/>
                  <a:gd name="connsiteX32" fmla="*/ 36100 w 43910"/>
                  <a:gd name="connsiteY32" fmla="*/ 2286 h 49815"/>
                  <a:gd name="connsiteX33" fmla="*/ 43910 w 43910"/>
                  <a:gd name="connsiteY33" fmla="*/ 11716 h 49815"/>
                  <a:gd name="connsiteX34" fmla="*/ 35433 w 43910"/>
                  <a:gd name="connsiteY34" fmla="*/ 14573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3910" h="49815">
                    <a:moveTo>
                      <a:pt x="35147" y="14573"/>
                    </a:moveTo>
                    <a:cubicBezTo>
                      <a:pt x="33814" y="12097"/>
                      <a:pt x="30861" y="8382"/>
                      <a:pt x="28480" y="8382"/>
                    </a:cubicBezTo>
                    <a:lnTo>
                      <a:pt x="16383" y="8382"/>
                    </a:lnTo>
                    <a:cubicBezTo>
                      <a:pt x="15812" y="8382"/>
                      <a:pt x="15240" y="8477"/>
                      <a:pt x="15050" y="8572"/>
                    </a:cubicBezTo>
                    <a:cubicBezTo>
                      <a:pt x="13525" y="9334"/>
                      <a:pt x="11716" y="11240"/>
                      <a:pt x="10763" y="12859"/>
                    </a:cubicBezTo>
                    <a:cubicBezTo>
                      <a:pt x="10668" y="12954"/>
                      <a:pt x="10668" y="13430"/>
                      <a:pt x="10668" y="14097"/>
                    </a:cubicBezTo>
                    <a:lnTo>
                      <a:pt x="10668" y="17240"/>
                    </a:lnTo>
                    <a:cubicBezTo>
                      <a:pt x="10668" y="18478"/>
                      <a:pt x="11811" y="19717"/>
                      <a:pt x="13621" y="19812"/>
                    </a:cubicBezTo>
                    <a:lnTo>
                      <a:pt x="32385" y="21145"/>
                    </a:lnTo>
                    <a:cubicBezTo>
                      <a:pt x="38481" y="21622"/>
                      <a:pt x="43625" y="26194"/>
                      <a:pt x="43625" y="32194"/>
                    </a:cubicBezTo>
                    <a:lnTo>
                      <a:pt x="43625" y="36004"/>
                    </a:lnTo>
                    <a:cubicBezTo>
                      <a:pt x="43625" y="38386"/>
                      <a:pt x="42958" y="40577"/>
                      <a:pt x="41624" y="42481"/>
                    </a:cubicBezTo>
                    <a:cubicBezTo>
                      <a:pt x="40672" y="43815"/>
                      <a:pt x="38291" y="46482"/>
                      <a:pt x="36671" y="47530"/>
                    </a:cubicBezTo>
                    <a:cubicBezTo>
                      <a:pt x="34481" y="48958"/>
                      <a:pt x="31718" y="49816"/>
                      <a:pt x="28956" y="49816"/>
                    </a:cubicBezTo>
                    <a:lnTo>
                      <a:pt x="15431" y="49816"/>
                    </a:lnTo>
                    <a:cubicBezTo>
                      <a:pt x="12668" y="49816"/>
                      <a:pt x="9906" y="49054"/>
                      <a:pt x="7715" y="47530"/>
                    </a:cubicBezTo>
                    <a:cubicBezTo>
                      <a:pt x="5144" y="45720"/>
                      <a:pt x="1810" y="41624"/>
                      <a:pt x="0" y="38100"/>
                    </a:cubicBezTo>
                    <a:lnTo>
                      <a:pt x="8477" y="35242"/>
                    </a:lnTo>
                    <a:cubicBezTo>
                      <a:pt x="9716" y="37719"/>
                      <a:pt x="11811" y="40195"/>
                      <a:pt x="13811" y="41243"/>
                    </a:cubicBezTo>
                    <a:cubicBezTo>
                      <a:pt x="14002" y="41339"/>
                      <a:pt x="14573" y="41434"/>
                      <a:pt x="15145" y="41434"/>
                    </a:cubicBezTo>
                    <a:lnTo>
                      <a:pt x="28861" y="41434"/>
                    </a:lnTo>
                    <a:cubicBezTo>
                      <a:pt x="30861" y="41434"/>
                      <a:pt x="33623" y="38576"/>
                      <a:pt x="34671" y="36957"/>
                    </a:cubicBezTo>
                    <a:cubicBezTo>
                      <a:pt x="34766" y="36862"/>
                      <a:pt x="34862" y="36385"/>
                      <a:pt x="34862" y="35719"/>
                    </a:cubicBezTo>
                    <a:lnTo>
                      <a:pt x="34862" y="31909"/>
                    </a:lnTo>
                    <a:cubicBezTo>
                      <a:pt x="34862" y="30670"/>
                      <a:pt x="33623" y="29432"/>
                      <a:pt x="31813" y="29337"/>
                    </a:cubicBezTo>
                    <a:lnTo>
                      <a:pt x="13049" y="28099"/>
                    </a:lnTo>
                    <a:cubicBezTo>
                      <a:pt x="6953" y="27622"/>
                      <a:pt x="2000" y="23051"/>
                      <a:pt x="2000" y="17050"/>
                    </a:cubicBezTo>
                    <a:lnTo>
                      <a:pt x="2000" y="13811"/>
                    </a:lnTo>
                    <a:cubicBezTo>
                      <a:pt x="2000" y="11430"/>
                      <a:pt x="2572" y="9239"/>
                      <a:pt x="3905" y="7334"/>
                    </a:cubicBezTo>
                    <a:cubicBezTo>
                      <a:pt x="4858" y="6001"/>
                      <a:pt x="7144" y="3334"/>
                      <a:pt x="8858" y="2286"/>
                    </a:cubicBezTo>
                    <a:cubicBezTo>
                      <a:pt x="11049" y="857"/>
                      <a:pt x="13811" y="0"/>
                      <a:pt x="16574" y="0"/>
                    </a:cubicBezTo>
                    <a:lnTo>
                      <a:pt x="28385" y="0"/>
                    </a:lnTo>
                    <a:cubicBezTo>
                      <a:pt x="31147" y="0"/>
                      <a:pt x="33909" y="762"/>
                      <a:pt x="36100" y="2286"/>
                    </a:cubicBezTo>
                    <a:cubicBezTo>
                      <a:pt x="38862" y="4191"/>
                      <a:pt x="42005" y="8096"/>
                      <a:pt x="43910" y="11716"/>
                    </a:cubicBezTo>
                    <a:lnTo>
                      <a:pt x="35433" y="1457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5BA9CF5B-6F7F-4F11-8779-8E464F635AAA}"/>
                  </a:ext>
                </a:extLst>
              </p:cNvPr>
              <p:cNvSpPr/>
              <p:nvPr/>
            </p:nvSpPr>
            <p:spPr>
              <a:xfrm>
                <a:off x="9763100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9916EB9F-80EC-4301-90E5-EB561FD0CDDA}"/>
                  </a:ext>
                </a:extLst>
              </p:cNvPr>
              <p:cNvSpPr/>
              <p:nvPr/>
            </p:nvSpPr>
            <p:spPr>
              <a:xfrm>
                <a:off x="9785237" y="5439320"/>
                <a:ext cx="31813" cy="67913"/>
              </a:xfrm>
              <a:custGeom>
                <a:avLst/>
                <a:gdLst>
                  <a:gd name="connsiteX0" fmla="*/ 16859 w 31813"/>
                  <a:gd name="connsiteY0" fmla="*/ 27432 h 67913"/>
                  <a:gd name="connsiteX1" fmla="*/ 16859 w 31813"/>
                  <a:gd name="connsiteY1" fmla="*/ 53340 h 67913"/>
                  <a:gd name="connsiteX2" fmla="*/ 17050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859" y="27432"/>
                    </a:moveTo>
                    <a:lnTo>
                      <a:pt x="16859" y="53340"/>
                    </a:lnTo>
                    <a:cubicBezTo>
                      <a:pt x="16859" y="54102"/>
                      <a:pt x="16955" y="54673"/>
                      <a:pt x="17050" y="54769"/>
                    </a:cubicBezTo>
                    <a:cubicBezTo>
                      <a:pt x="18002" y="56388"/>
                      <a:pt x="20003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288" y="67913"/>
                      <a:pt x="17336" y="67151"/>
                      <a:pt x="15335" y="65627"/>
                    </a:cubicBezTo>
                    <a:cubicBezTo>
                      <a:pt x="13621" y="64389"/>
                      <a:pt x="10763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046DE8A9-3729-4491-A7D9-F1229241ACCC}"/>
                  </a:ext>
                </a:extLst>
              </p:cNvPr>
              <p:cNvSpPr/>
              <p:nvPr/>
            </p:nvSpPr>
            <p:spPr>
              <a:xfrm>
                <a:off x="9825570" y="5458556"/>
                <a:ext cx="43910" cy="68294"/>
              </a:xfrm>
              <a:custGeom>
                <a:avLst/>
                <a:gdLst>
                  <a:gd name="connsiteX0" fmla="*/ 21526 w 43910"/>
                  <a:gd name="connsiteY0" fmla="*/ 68294 h 68294"/>
                  <a:gd name="connsiteX1" fmla="*/ 11906 w 43910"/>
                  <a:gd name="connsiteY1" fmla="*/ 68294 h 68294"/>
                  <a:gd name="connsiteX2" fmla="*/ 18479 w 43910"/>
                  <a:gd name="connsiteY2" fmla="*/ 48768 h 68294"/>
                  <a:gd name="connsiteX3" fmla="*/ 16764 w 43910"/>
                  <a:gd name="connsiteY3" fmla="*/ 48768 h 68294"/>
                  <a:gd name="connsiteX4" fmla="*/ 0 w 43910"/>
                  <a:gd name="connsiteY4" fmla="*/ 0 h 68294"/>
                  <a:gd name="connsiteX5" fmla="*/ 9525 w 43910"/>
                  <a:gd name="connsiteY5" fmla="*/ 0 h 68294"/>
                  <a:gd name="connsiteX6" fmla="*/ 22193 w 43910"/>
                  <a:gd name="connsiteY6" fmla="*/ 37909 h 68294"/>
                  <a:gd name="connsiteX7" fmla="*/ 34862 w 43910"/>
                  <a:gd name="connsiteY7" fmla="*/ 0 h 68294"/>
                  <a:gd name="connsiteX8" fmla="*/ 43910 w 43910"/>
                  <a:gd name="connsiteY8" fmla="*/ 0 h 68294"/>
                  <a:gd name="connsiteX9" fmla="*/ 21526 w 43910"/>
                  <a:gd name="connsiteY9" fmla="*/ 68294 h 6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910" h="68294">
                    <a:moveTo>
                      <a:pt x="21526" y="68294"/>
                    </a:moveTo>
                    <a:lnTo>
                      <a:pt x="11906" y="68294"/>
                    </a:lnTo>
                    <a:lnTo>
                      <a:pt x="18479" y="48768"/>
                    </a:lnTo>
                    <a:lnTo>
                      <a:pt x="16764" y="48768"/>
                    </a:lnTo>
                    <a:lnTo>
                      <a:pt x="0" y="0"/>
                    </a:lnTo>
                    <a:lnTo>
                      <a:pt x="9525" y="0"/>
                    </a:lnTo>
                    <a:lnTo>
                      <a:pt x="22193" y="37909"/>
                    </a:lnTo>
                    <a:lnTo>
                      <a:pt x="34862" y="0"/>
                    </a:lnTo>
                    <a:lnTo>
                      <a:pt x="43910" y="0"/>
                    </a:lnTo>
                    <a:lnTo>
                      <a:pt x="21526" y="6829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509C8278-6DA7-4F49-8EC2-140136450F89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10408201" y="99445"/>
              <a:ext cx="1195363" cy="518258"/>
              <a:chOff x="6935753" y="735653"/>
              <a:chExt cx="2189706" cy="894017"/>
            </a:xfrm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2EEEF5A7-CBBB-40D3-B2DC-76A699EE7BB2}"/>
                  </a:ext>
                </a:extLst>
              </p:cNvPr>
              <p:cNvSpPr/>
              <p:nvPr/>
            </p:nvSpPr>
            <p:spPr>
              <a:xfrm>
                <a:off x="7675561" y="746701"/>
                <a:ext cx="394715" cy="604458"/>
              </a:xfrm>
              <a:custGeom>
                <a:avLst/>
                <a:gdLst>
                  <a:gd name="connsiteX0" fmla="*/ 95 w 394716"/>
                  <a:gd name="connsiteY0" fmla="*/ 0 h 604456"/>
                  <a:gd name="connsiteX1" fmla="*/ 384524 w 394716"/>
                  <a:gd name="connsiteY1" fmla="*/ 0 h 604456"/>
                  <a:gd name="connsiteX2" fmla="*/ 384524 w 394716"/>
                  <a:gd name="connsiteY2" fmla="*/ 98965 h 604456"/>
                  <a:gd name="connsiteX3" fmla="*/ 111728 w 394716"/>
                  <a:gd name="connsiteY3" fmla="*/ 98965 h 604456"/>
                  <a:gd name="connsiteX4" fmla="*/ 111728 w 394716"/>
                  <a:gd name="connsiteY4" fmla="*/ 250698 h 604456"/>
                  <a:gd name="connsiteX5" fmla="*/ 335947 w 394716"/>
                  <a:gd name="connsiteY5" fmla="*/ 250698 h 604456"/>
                  <a:gd name="connsiteX6" fmla="*/ 335947 w 394716"/>
                  <a:gd name="connsiteY6" fmla="*/ 348710 h 604456"/>
                  <a:gd name="connsiteX7" fmla="*/ 111728 w 394716"/>
                  <a:gd name="connsiteY7" fmla="*/ 348710 h 604456"/>
                  <a:gd name="connsiteX8" fmla="*/ 111728 w 394716"/>
                  <a:gd name="connsiteY8" fmla="*/ 505587 h 604456"/>
                  <a:gd name="connsiteX9" fmla="*/ 394716 w 394716"/>
                  <a:gd name="connsiteY9" fmla="*/ 505587 h 604456"/>
                  <a:gd name="connsiteX10" fmla="*/ 394716 w 394716"/>
                  <a:gd name="connsiteY10" fmla="*/ 604457 h 604456"/>
                  <a:gd name="connsiteX11" fmla="*/ 0 w 394716"/>
                  <a:gd name="connsiteY11" fmla="*/ 604457 h 604456"/>
                  <a:gd name="connsiteX12" fmla="*/ 0 w 394716"/>
                  <a:gd name="connsiteY12" fmla="*/ 0 h 60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716" h="604456">
                    <a:moveTo>
                      <a:pt x="95" y="0"/>
                    </a:moveTo>
                    <a:lnTo>
                      <a:pt x="384524" y="0"/>
                    </a:lnTo>
                    <a:lnTo>
                      <a:pt x="384524" y="98965"/>
                    </a:lnTo>
                    <a:lnTo>
                      <a:pt x="111728" y="98965"/>
                    </a:lnTo>
                    <a:lnTo>
                      <a:pt x="111728" y="250698"/>
                    </a:lnTo>
                    <a:lnTo>
                      <a:pt x="335947" y="250698"/>
                    </a:lnTo>
                    <a:lnTo>
                      <a:pt x="335947" y="348710"/>
                    </a:lnTo>
                    <a:lnTo>
                      <a:pt x="111728" y="348710"/>
                    </a:lnTo>
                    <a:lnTo>
                      <a:pt x="111728" y="505587"/>
                    </a:lnTo>
                    <a:lnTo>
                      <a:pt x="394716" y="505587"/>
                    </a:lnTo>
                    <a:lnTo>
                      <a:pt x="394716" y="604457"/>
                    </a:lnTo>
                    <a:lnTo>
                      <a:pt x="0" y="604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37FA9AA3-9E35-42A4-8E31-96840F0AA0DB}"/>
                  </a:ext>
                </a:extLst>
              </p:cNvPr>
              <p:cNvSpPr/>
              <p:nvPr/>
            </p:nvSpPr>
            <p:spPr>
              <a:xfrm>
                <a:off x="8177149" y="735653"/>
                <a:ext cx="399765" cy="624840"/>
              </a:xfrm>
              <a:custGeom>
                <a:avLst/>
                <a:gdLst>
                  <a:gd name="connsiteX0" fmla="*/ 365570 w 399764"/>
                  <a:gd name="connsiteY0" fmla="*/ 40100 h 624839"/>
                  <a:gd name="connsiteX1" fmla="*/ 365570 w 399764"/>
                  <a:gd name="connsiteY1" fmla="*/ 151733 h 624839"/>
                  <a:gd name="connsiteX2" fmla="*/ 214693 w 399764"/>
                  <a:gd name="connsiteY2" fmla="*/ 103156 h 624839"/>
                  <a:gd name="connsiteX3" fmla="*/ 116681 w 399764"/>
                  <a:gd name="connsiteY3" fmla="*/ 169640 h 624839"/>
                  <a:gd name="connsiteX4" fmla="*/ 222409 w 399764"/>
                  <a:gd name="connsiteY4" fmla="*/ 258318 h 624839"/>
                  <a:gd name="connsiteX5" fmla="*/ 399764 w 399764"/>
                  <a:gd name="connsiteY5" fmla="*/ 441579 h 624839"/>
                  <a:gd name="connsiteX6" fmla="*/ 179832 w 399764"/>
                  <a:gd name="connsiteY6" fmla="*/ 624840 h 624839"/>
                  <a:gd name="connsiteX7" fmla="*/ 0 w 399764"/>
                  <a:gd name="connsiteY7" fmla="*/ 573691 h 624839"/>
                  <a:gd name="connsiteX8" fmla="*/ 0 w 399764"/>
                  <a:gd name="connsiteY8" fmla="*/ 454343 h 624839"/>
                  <a:gd name="connsiteX9" fmla="*/ 173069 w 399764"/>
                  <a:gd name="connsiteY9" fmla="*/ 522542 h 624839"/>
                  <a:gd name="connsiteX10" fmla="*/ 280511 w 399764"/>
                  <a:gd name="connsiteY10" fmla="*/ 444913 h 624839"/>
                  <a:gd name="connsiteX11" fmla="*/ 160306 w 399764"/>
                  <a:gd name="connsiteY11" fmla="*/ 347758 h 624839"/>
                  <a:gd name="connsiteX12" fmla="*/ 857 w 399764"/>
                  <a:gd name="connsiteY12" fmla="*/ 174689 h 624839"/>
                  <a:gd name="connsiteX13" fmla="*/ 210407 w 399764"/>
                  <a:gd name="connsiteY13" fmla="*/ 0 h 624839"/>
                  <a:gd name="connsiteX14" fmla="*/ 365570 w 399764"/>
                  <a:gd name="connsiteY14" fmla="*/ 40100 h 624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9764" h="624839">
                    <a:moveTo>
                      <a:pt x="365570" y="40100"/>
                    </a:moveTo>
                    <a:lnTo>
                      <a:pt x="365570" y="151733"/>
                    </a:lnTo>
                    <a:cubicBezTo>
                      <a:pt x="323755" y="121920"/>
                      <a:pt x="265843" y="103156"/>
                      <a:pt x="214693" y="103156"/>
                    </a:cubicBezTo>
                    <a:cubicBezTo>
                      <a:pt x="158401" y="103156"/>
                      <a:pt x="116681" y="126206"/>
                      <a:pt x="116681" y="169640"/>
                    </a:cubicBezTo>
                    <a:cubicBezTo>
                      <a:pt x="116681" y="209741"/>
                      <a:pt x="151638" y="229362"/>
                      <a:pt x="222409" y="258318"/>
                    </a:cubicBezTo>
                    <a:cubicBezTo>
                      <a:pt x="309372" y="293275"/>
                      <a:pt x="399764" y="330803"/>
                      <a:pt x="399764" y="441579"/>
                    </a:cubicBezTo>
                    <a:cubicBezTo>
                      <a:pt x="399764" y="552355"/>
                      <a:pt x="311944" y="624840"/>
                      <a:pt x="179832" y="624840"/>
                    </a:cubicBezTo>
                    <a:cubicBezTo>
                      <a:pt x="107347" y="624840"/>
                      <a:pt x="41720" y="603504"/>
                      <a:pt x="0" y="573691"/>
                    </a:cubicBezTo>
                    <a:lnTo>
                      <a:pt x="0" y="454343"/>
                    </a:lnTo>
                    <a:cubicBezTo>
                      <a:pt x="44291" y="492728"/>
                      <a:pt x="108299" y="522542"/>
                      <a:pt x="173069" y="522542"/>
                    </a:cubicBezTo>
                    <a:cubicBezTo>
                      <a:pt x="234410" y="522542"/>
                      <a:pt x="280511" y="493586"/>
                      <a:pt x="280511" y="444913"/>
                    </a:cubicBezTo>
                    <a:cubicBezTo>
                      <a:pt x="280511" y="399764"/>
                      <a:pt x="236220" y="379286"/>
                      <a:pt x="160306" y="347758"/>
                    </a:cubicBezTo>
                    <a:cubicBezTo>
                      <a:pt x="86106" y="317087"/>
                      <a:pt x="857" y="278702"/>
                      <a:pt x="857" y="174689"/>
                    </a:cubicBezTo>
                    <a:cubicBezTo>
                      <a:pt x="857" y="70676"/>
                      <a:pt x="84201" y="0"/>
                      <a:pt x="210407" y="0"/>
                    </a:cubicBezTo>
                    <a:cubicBezTo>
                      <a:pt x="270891" y="0"/>
                      <a:pt x="325469" y="16193"/>
                      <a:pt x="365570" y="4010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E3369061-AB2B-460B-8661-5CBBAA4E2559}"/>
                  </a:ext>
                </a:extLst>
              </p:cNvPr>
              <p:cNvSpPr/>
              <p:nvPr/>
            </p:nvSpPr>
            <p:spPr>
              <a:xfrm>
                <a:off x="8688167" y="746701"/>
                <a:ext cx="437292" cy="604361"/>
              </a:xfrm>
              <a:custGeom>
                <a:avLst/>
                <a:gdLst>
                  <a:gd name="connsiteX0" fmla="*/ 0 w 437292"/>
                  <a:gd name="connsiteY0" fmla="*/ 0 h 604361"/>
                  <a:gd name="connsiteX1" fmla="*/ 217361 w 437292"/>
                  <a:gd name="connsiteY1" fmla="*/ 0 h 604361"/>
                  <a:gd name="connsiteX2" fmla="*/ 407480 w 437292"/>
                  <a:gd name="connsiteY2" fmla="*/ 161925 h 604361"/>
                  <a:gd name="connsiteX3" fmla="*/ 327374 w 437292"/>
                  <a:gd name="connsiteY3" fmla="*/ 293180 h 604361"/>
                  <a:gd name="connsiteX4" fmla="*/ 437293 w 437292"/>
                  <a:gd name="connsiteY4" fmla="*/ 436436 h 604361"/>
                  <a:gd name="connsiteX5" fmla="*/ 234410 w 437292"/>
                  <a:gd name="connsiteY5" fmla="*/ 604361 h 604361"/>
                  <a:gd name="connsiteX6" fmla="*/ 0 w 437292"/>
                  <a:gd name="connsiteY6" fmla="*/ 604361 h 604361"/>
                  <a:gd name="connsiteX7" fmla="*/ 0 w 437292"/>
                  <a:gd name="connsiteY7" fmla="*/ 0 h 604361"/>
                  <a:gd name="connsiteX8" fmla="*/ 210598 w 437292"/>
                  <a:gd name="connsiteY8" fmla="*/ 252317 h 604361"/>
                  <a:gd name="connsiteX9" fmla="*/ 292417 w 437292"/>
                  <a:gd name="connsiteY9" fmla="*/ 172212 h 604361"/>
                  <a:gd name="connsiteX10" fmla="*/ 208026 w 437292"/>
                  <a:gd name="connsiteY10" fmla="*/ 98012 h 604361"/>
                  <a:gd name="connsiteX11" fmla="*/ 111728 w 437292"/>
                  <a:gd name="connsiteY11" fmla="*/ 98012 h 604361"/>
                  <a:gd name="connsiteX12" fmla="*/ 111728 w 437292"/>
                  <a:gd name="connsiteY12" fmla="*/ 252413 h 604361"/>
                  <a:gd name="connsiteX13" fmla="*/ 210598 w 437292"/>
                  <a:gd name="connsiteY13" fmla="*/ 252413 h 604361"/>
                  <a:gd name="connsiteX14" fmla="*/ 231934 w 437292"/>
                  <a:gd name="connsiteY14" fmla="*/ 505492 h 604361"/>
                  <a:gd name="connsiteX15" fmla="*/ 320612 w 437292"/>
                  <a:gd name="connsiteY15" fmla="*/ 422815 h 604361"/>
                  <a:gd name="connsiteX16" fmla="*/ 225171 w 437292"/>
                  <a:gd name="connsiteY16" fmla="*/ 342710 h 604361"/>
                  <a:gd name="connsiteX17" fmla="*/ 111824 w 437292"/>
                  <a:gd name="connsiteY17" fmla="*/ 342710 h 604361"/>
                  <a:gd name="connsiteX18" fmla="*/ 111824 w 437292"/>
                  <a:gd name="connsiteY18" fmla="*/ 505492 h 604361"/>
                  <a:gd name="connsiteX19" fmla="*/ 232029 w 437292"/>
                  <a:gd name="connsiteY19" fmla="*/ 505492 h 604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7292" h="604361">
                    <a:moveTo>
                      <a:pt x="0" y="0"/>
                    </a:moveTo>
                    <a:lnTo>
                      <a:pt x="217361" y="0"/>
                    </a:lnTo>
                    <a:cubicBezTo>
                      <a:pt x="330708" y="0"/>
                      <a:pt x="407480" y="63056"/>
                      <a:pt x="407480" y="161925"/>
                    </a:cubicBezTo>
                    <a:cubicBezTo>
                      <a:pt x="407480" y="226695"/>
                      <a:pt x="369094" y="273558"/>
                      <a:pt x="327374" y="293180"/>
                    </a:cubicBezTo>
                    <a:cubicBezTo>
                      <a:pt x="379381" y="305943"/>
                      <a:pt x="437293" y="357092"/>
                      <a:pt x="437293" y="436436"/>
                    </a:cubicBezTo>
                    <a:cubicBezTo>
                      <a:pt x="437293" y="537877"/>
                      <a:pt x="355473" y="604361"/>
                      <a:pt x="234410" y="604361"/>
                    </a:cubicBezTo>
                    <a:lnTo>
                      <a:pt x="0" y="604361"/>
                    </a:lnTo>
                    <a:lnTo>
                      <a:pt x="0" y="0"/>
                    </a:lnTo>
                    <a:close/>
                    <a:moveTo>
                      <a:pt x="210598" y="252317"/>
                    </a:moveTo>
                    <a:cubicBezTo>
                      <a:pt x="264319" y="252317"/>
                      <a:pt x="292417" y="215646"/>
                      <a:pt x="292417" y="172212"/>
                    </a:cubicBezTo>
                    <a:cubicBezTo>
                      <a:pt x="292417" y="132112"/>
                      <a:pt x="260890" y="98012"/>
                      <a:pt x="208026" y="98012"/>
                    </a:cubicBezTo>
                    <a:lnTo>
                      <a:pt x="111728" y="98012"/>
                    </a:lnTo>
                    <a:lnTo>
                      <a:pt x="111728" y="252413"/>
                    </a:lnTo>
                    <a:lnTo>
                      <a:pt x="210598" y="252413"/>
                    </a:lnTo>
                    <a:close/>
                    <a:moveTo>
                      <a:pt x="231934" y="505492"/>
                    </a:moveTo>
                    <a:cubicBezTo>
                      <a:pt x="283940" y="505492"/>
                      <a:pt x="320612" y="469678"/>
                      <a:pt x="320612" y="422815"/>
                    </a:cubicBezTo>
                    <a:cubicBezTo>
                      <a:pt x="320612" y="375952"/>
                      <a:pt x="279654" y="342710"/>
                      <a:pt x="225171" y="342710"/>
                    </a:cubicBezTo>
                    <a:lnTo>
                      <a:pt x="111824" y="342710"/>
                    </a:lnTo>
                    <a:lnTo>
                      <a:pt x="111824" y="505492"/>
                    </a:lnTo>
                    <a:lnTo>
                      <a:pt x="232029" y="50549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BD283D2A-23EF-4BC7-B168-E9202E27FB2B}"/>
                  </a:ext>
                </a:extLst>
              </p:cNvPr>
              <p:cNvSpPr/>
              <p:nvPr/>
            </p:nvSpPr>
            <p:spPr>
              <a:xfrm>
                <a:off x="6935755" y="1489175"/>
                <a:ext cx="99917" cy="138017"/>
              </a:xfrm>
              <a:custGeom>
                <a:avLst/>
                <a:gdLst>
                  <a:gd name="connsiteX0" fmla="*/ 0 w 99917"/>
                  <a:gd name="connsiteY0" fmla="*/ 95 h 138017"/>
                  <a:gd name="connsiteX1" fmla="*/ 49625 w 99917"/>
                  <a:gd name="connsiteY1" fmla="*/ 95 h 138017"/>
                  <a:gd name="connsiteX2" fmla="*/ 93059 w 99917"/>
                  <a:gd name="connsiteY2" fmla="*/ 37052 h 138017"/>
                  <a:gd name="connsiteX3" fmla="*/ 74771 w 99917"/>
                  <a:gd name="connsiteY3" fmla="*/ 67056 h 138017"/>
                  <a:gd name="connsiteX4" fmla="*/ 99917 w 99917"/>
                  <a:gd name="connsiteY4" fmla="*/ 99727 h 138017"/>
                  <a:gd name="connsiteX5" fmla="*/ 53626 w 99917"/>
                  <a:gd name="connsiteY5" fmla="*/ 138017 h 138017"/>
                  <a:gd name="connsiteX6" fmla="*/ 0 w 99917"/>
                  <a:gd name="connsiteY6" fmla="*/ 138017 h 138017"/>
                  <a:gd name="connsiteX7" fmla="*/ 0 w 99917"/>
                  <a:gd name="connsiteY7" fmla="*/ 0 h 138017"/>
                  <a:gd name="connsiteX8" fmla="*/ 48101 w 99917"/>
                  <a:gd name="connsiteY8" fmla="*/ 57721 h 138017"/>
                  <a:gd name="connsiteX9" fmla="*/ 66770 w 99917"/>
                  <a:gd name="connsiteY9" fmla="*/ 39433 h 138017"/>
                  <a:gd name="connsiteX10" fmla="*/ 47530 w 99917"/>
                  <a:gd name="connsiteY10" fmla="*/ 22479 h 138017"/>
                  <a:gd name="connsiteX11" fmla="*/ 25527 w 99917"/>
                  <a:gd name="connsiteY11" fmla="*/ 22479 h 138017"/>
                  <a:gd name="connsiteX12" fmla="*/ 25527 w 99917"/>
                  <a:gd name="connsiteY12" fmla="*/ 57721 h 138017"/>
                  <a:gd name="connsiteX13" fmla="*/ 48101 w 99917"/>
                  <a:gd name="connsiteY13" fmla="*/ 57721 h 138017"/>
                  <a:gd name="connsiteX14" fmla="*/ 52959 w 99917"/>
                  <a:gd name="connsiteY14" fmla="*/ 115538 h 138017"/>
                  <a:gd name="connsiteX15" fmla="*/ 73247 w 99917"/>
                  <a:gd name="connsiteY15" fmla="*/ 96679 h 138017"/>
                  <a:gd name="connsiteX16" fmla="*/ 51435 w 99917"/>
                  <a:gd name="connsiteY16" fmla="*/ 78391 h 138017"/>
                  <a:gd name="connsiteX17" fmla="*/ 25527 w 99917"/>
                  <a:gd name="connsiteY17" fmla="*/ 78391 h 138017"/>
                  <a:gd name="connsiteX18" fmla="*/ 25527 w 99917"/>
                  <a:gd name="connsiteY18" fmla="*/ 115538 h 138017"/>
                  <a:gd name="connsiteX19" fmla="*/ 52959 w 99917"/>
                  <a:gd name="connsiteY19" fmla="*/ 115538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9917" h="138017">
                    <a:moveTo>
                      <a:pt x="0" y="95"/>
                    </a:moveTo>
                    <a:lnTo>
                      <a:pt x="49625" y="95"/>
                    </a:lnTo>
                    <a:cubicBezTo>
                      <a:pt x="75533" y="95"/>
                      <a:pt x="93059" y="14478"/>
                      <a:pt x="93059" y="37052"/>
                    </a:cubicBezTo>
                    <a:cubicBezTo>
                      <a:pt x="93059" y="51816"/>
                      <a:pt x="84296" y="62579"/>
                      <a:pt x="74771" y="67056"/>
                    </a:cubicBezTo>
                    <a:cubicBezTo>
                      <a:pt x="86678" y="70009"/>
                      <a:pt x="99917" y="81629"/>
                      <a:pt x="99917" y="99727"/>
                    </a:cubicBezTo>
                    <a:cubicBezTo>
                      <a:pt x="99917" y="122873"/>
                      <a:pt x="81248" y="138017"/>
                      <a:pt x="53626" y="138017"/>
                    </a:cubicBezTo>
                    <a:lnTo>
                      <a:pt x="0" y="138017"/>
                    </a:lnTo>
                    <a:lnTo>
                      <a:pt x="0" y="0"/>
                    </a:lnTo>
                    <a:close/>
                    <a:moveTo>
                      <a:pt x="48101" y="57721"/>
                    </a:moveTo>
                    <a:cubicBezTo>
                      <a:pt x="60389" y="57721"/>
                      <a:pt x="66770" y="49340"/>
                      <a:pt x="66770" y="39433"/>
                    </a:cubicBezTo>
                    <a:cubicBezTo>
                      <a:pt x="66770" y="30290"/>
                      <a:pt x="59531" y="22479"/>
                      <a:pt x="47530" y="22479"/>
                    </a:cubicBezTo>
                    <a:lnTo>
                      <a:pt x="25527" y="22479"/>
                    </a:lnTo>
                    <a:lnTo>
                      <a:pt x="25527" y="57721"/>
                    </a:lnTo>
                    <a:lnTo>
                      <a:pt x="48101" y="57721"/>
                    </a:lnTo>
                    <a:close/>
                    <a:moveTo>
                      <a:pt x="52959" y="115538"/>
                    </a:moveTo>
                    <a:cubicBezTo>
                      <a:pt x="64865" y="115538"/>
                      <a:pt x="73247" y="107347"/>
                      <a:pt x="73247" y="96679"/>
                    </a:cubicBezTo>
                    <a:cubicBezTo>
                      <a:pt x="73247" y="86011"/>
                      <a:pt x="63913" y="78391"/>
                      <a:pt x="51435" y="78391"/>
                    </a:cubicBezTo>
                    <a:lnTo>
                      <a:pt x="25527" y="78391"/>
                    </a:lnTo>
                    <a:lnTo>
                      <a:pt x="25527" y="115538"/>
                    </a:lnTo>
                    <a:lnTo>
                      <a:pt x="52959" y="11553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2727B6EE-7D23-4539-8EEC-478A93A5B975}"/>
                  </a:ext>
                </a:extLst>
              </p:cNvPr>
              <p:cNvSpPr/>
              <p:nvPr/>
            </p:nvSpPr>
            <p:spPr>
              <a:xfrm>
                <a:off x="7090155" y="1489175"/>
                <a:ext cx="111061" cy="140493"/>
              </a:xfrm>
              <a:custGeom>
                <a:avLst/>
                <a:gdLst>
                  <a:gd name="connsiteX0" fmla="*/ 110871 w 111061"/>
                  <a:gd name="connsiteY0" fmla="*/ 86773 h 140493"/>
                  <a:gd name="connsiteX1" fmla="*/ 55436 w 111061"/>
                  <a:gd name="connsiteY1" fmla="*/ 140494 h 140493"/>
                  <a:gd name="connsiteX2" fmla="*/ 0 w 111061"/>
                  <a:gd name="connsiteY2" fmla="*/ 86773 h 140493"/>
                  <a:gd name="connsiteX3" fmla="*/ 0 w 111061"/>
                  <a:gd name="connsiteY3" fmla="*/ 0 h 140493"/>
                  <a:gd name="connsiteX4" fmla="*/ 25718 w 111061"/>
                  <a:gd name="connsiteY4" fmla="*/ 0 h 140493"/>
                  <a:gd name="connsiteX5" fmla="*/ 25718 w 111061"/>
                  <a:gd name="connsiteY5" fmla="*/ 85058 h 140493"/>
                  <a:gd name="connsiteX6" fmla="*/ 55531 w 111061"/>
                  <a:gd name="connsiteY6" fmla="*/ 116205 h 140493"/>
                  <a:gd name="connsiteX7" fmla="*/ 85344 w 111061"/>
                  <a:gd name="connsiteY7" fmla="*/ 85058 h 140493"/>
                  <a:gd name="connsiteX8" fmla="*/ 85344 w 111061"/>
                  <a:gd name="connsiteY8" fmla="*/ 0 h 140493"/>
                  <a:gd name="connsiteX9" fmla="*/ 111062 w 111061"/>
                  <a:gd name="connsiteY9" fmla="*/ 0 h 140493"/>
                  <a:gd name="connsiteX10" fmla="*/ 111062 w 111061"/>
                  <a:gd name="connsiteY10" fmla="*/ 86773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1061" h="140493">
                    <a:moveTo>
                      <a:pt x="110871" y="86773"/>
                    </a:moveTo>
                    <a:cubicBezTo>
                      <a:pt x="110871" y="116777"/>
                      <a:pt x="87916" y="140494"/>
                      <a:pt x="55436" y="140494"/>
                    </a:cubicBezTo>
                    <a:cubicBezTo>
                      <a:pt x="22955" y="140494"/>
                      <a:pt x="0" y="116777"/>
                      <a:pt x="0" y="86773"/>
                    </a:cubicBezTo>
                    <a:lnTo>
                      <a:pt x="0" y="0"/>
                    </a:lnTo>
                    <a:lnTo>
                      <a:pt x="25718" y="0"/>
                    </a:lnTo>
                    <a:lnTo>
                      <a:pt x="25718" y="85058"/>
                    </a:lnTo>
                    <a:cubicBezTo>
                      <a:pt x="25718" y="102584"/>
                      <a:pt x="37624" y="116205"/>
                      <a:pt x="55531" y="116205"/>
                    </a:cubicBezTo>
                    <a:cubicBezTo>
                      <a:pt x="73438" y="116205"/>
                      <a:pt x="85344" y="102584"/>
                      <a:pt x="85344" y="85058"/>
                    </a:cubicBezTo>
                    <a:lnTo>
                      <a:pt x="85344" y="0"/>
                    </a:lnTo>
                    <a:lnTo>
                      <a:pt x="111062" y="0"/>
                    </a:lnTo>
                    <a:lnTo>
                      <a:pt x="111062" y="86773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6D06A24E-67A4-4263-8BC5-EDEC177C8DCA}"/>
                  </a:ext>
                </a:extLst>
              </p:cNvPr>
              <p:cNvSpPr/>
              <p:nvPr/>
            </p:nvSpPr>
            <p:spPr>
              <a:xfrm>
                <a:off x="7257605" y="1486605"/>
                <a:ext cx="91248" cy="142780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49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49" y="75724"/>
                      <a:pt x="91249" y="100965"/>
                    </a:cubicBezTo>
                    <a:cubicBezTo>
                      <a:pt x="91249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0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1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9AF1018C-49EB-4E43-94C0-FB95CBB0005B}"/>
                  </a:ext>
                </a:extLst>
              </p:cNvPr>
              <p:cNvSpPr/>
              <p:nvPr/>
            </p:nvSpPr>
            <p:spPr>
              <a:xfrm>
                <a:off x="7404479" y="1489081"/>
                <a:ext cx="25717" cy="138208"/>
              </a:xfrm>
              <a:custGeom>
                <a:avLst/>
                <a:gdLst>
                  <a:gd name="connsiteX0" fmla="*/ 0 w 25717"/>
                  <a:gd name="connsiteY0" fmla="*/ 0 h 138207"/>
                  <a:gd name="connsiteX1" fmla="*/ 25718 w 25717"/>
                  <a:gd name="connsiteY1" fmla="*/ 0 h 138207"/>
                  <a:gd name="connsiteX2" fmla="*/ 25718 w 25717"/>
                  <a:gd name="connsiteY2" fmla="*/ 138208 h 138207"/>
                  <a:gd name="connsiteX3" fmla="*/ 0 w 25717"/>
                  <a:gd name="connsiteY3" fmla="*/ 138208 h 138207"/>
                  <a:gd name="connsiteX4" fmla="*/ 0 w 25717"/>
                  <a:gd name="connsiteY4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7" h="138207">
                    <a:moveTo>
                      <a:pt x="0" y="0"/>
                    </a:moveTo>
                    <a:lnTo>
                      <a:pt x="25718" y="0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411F3478-8E81-40EC-A8AF-540BCBF69BD3}"/>
                  </a:ext>
                </a:extLst>
              </p:cNvPr>
              <p:cNvSpPr/>
              <p:nvPr/>
            </p:nvSpPr>
            <p:spPr>
              <a:xfrm>
                <a:off x="7494586" y="1489081"/>
                <a:ext cx="116204" cy="138208"/>
              </a:xfrm>
              <a:custGeom>
                <a:avLst/>
                <a:gdLst>
                  <a:gd name="connsiteX0" fmla="*/ 116205 w 116205"/>
                  <a:gd name="connsiteY0" fmla="*/ 0 h 138207"/>
                  <a:gd name="connsiteX1" fmla="*/ 116205 w 116205"/>
                  <a:gd name="connsiteY1" fmla="*/ 138208 h 138207"/>
                  <a:gd name="connsiteX2" fmla="*/ 94393 w 116205"/>
                  <a:gd name="connsiteY2" fmla="*/ 138208 h 138207"/>
                  <a:gd name="connsiteX3" fmla="*/ 25718 w 116205"/>
                  <a:gd name="connsiteY3" fmla="*/ 44768 h 138207"/>
                  <a:gd name="connsiteX4" fmla="*/ 25718 w 116205"/>
                  <a:gd name="connsiteY4" fmla="*/ 138208 h 138207"/>
                  <a:gd name="connsiteX5" fmla="*/ 0 w 116205"/>
                  <a:gd name="connsiteY5" fmla="*/ 138208 h 138207"/>
                  <a:gd name="connsiteX6" fmla="*/ 0 w 116205"/>
                  <a:gd name="connsiteY6" fmla="*/ 0 h 138207"/>
                  <a:gd name="connsiteX7" fmla="*/ 22003 w 116205"/>
                  <a:gd name="connsiteY7" fmla="*/ 0 h 138207"/>
                  <a:gd name="connsiteX8" fmla="*/ 90678 w 116205"/>
                  <a:gd name="connsiteY8" fmla="*/ 93440 h 138207"/>
                  <a:gd name="connsiteX9" fmla="*/ 90678 w 116205"/>
                  <a:gd name="connsiteY9" fmla="*/ 0 h 138207"/>
                  <a:gd name="connsiteX10" fmla="*/ 116205 w 116205"/>
                  <a:gd name="connsiteY10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205" h="138207">
                    <a:moveTo>
                      <a:pt x="116205" y="0"/>
                    </a:moveTo>
                    <a:lnTo>
                      <a:pt x="116205" y="138208"/>
                    </a:lnTo>
                    <a:lnTo>
                      <a:pt x="94393" y="138208"/>
                    </a:lnTo>
                    <a:lnTo>
                      <a:pt x="25718" y="44768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lnTo>
                      <a:pt x="22003" y="0"/>
                    </a:lnTo>
                    <a:lnTo>
                      <a:pt x="90678" y="93440"/>
                    </a:lnTo>
                    <a:lnTo>
                      <a:pt x="90678" y="0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A4413536-6E54-4BBA-B1EF-7811868A246A}"/>
                  </a:ext>
                </a:extLst>
              </p:cNvPr>
              <p:cNvSpPr/>
              <p:nvPr/>
            </p:nvSpPr>
            <p:spPr>
              <a:xfrm>
                <a:off x="7675276" y="1489272"/>
                <a:ext cx="90107" cy="138017"/>
              </a:xfrm>
              <a:custGeom>
                <a:avLst/>
                <a:gdLst>
                  <a:gd name="connsiteX0" fmla="*/ 95 w 90106"/>
                  <a:gd name="connsiteY0" fmla="*/ 0 h 138017"/>
                  <a:gd name="connsiteX1" fmla="*/ 87821 w 90106"/>
                  <a:gd name="connsiteY1" fmla="*/ 0 h 138017"/>
                  <a:gd name="connsiteX2" fmla="*/ 87821 w 90106"/>
                  <a:gd name="connsiteY2" fmla="*/ 22574 h 138017"/>
                  <a:gd name="connsiteX3" fmla="*/ 25527 w 90106"/>
                  <a:gd name="connsiteY3" fmla="*/ 22574 h 138017"/>
                  <a:gd name="connsiteX4" fmla="*/ 25527 w 90106"/>
                  <a:gd name="connsiteY4" fmla="*/ 57245 h 138017"/>
                  <a:gd name="connsiteX5" fmla="*/ 76676 w 90106"/>
                  <a:gd name="connsiteY5" fmla="*/ 57245 h 138017"/>
                  <a:gd name="connsiteX6" fmla="*/ 76676 w 90106"/>
                  <a:gd name="connsiteY6" fmla="*/ 79629 h 138017"/>
                  <a:gd name="connsiteX7" fmla="*/ 25527 w 90106"/>
                  <a:gd name="connsiteY7" fmla="*/ 79629 h 138017"/>
                  <a:gd name="connsiteX8" fmla="*/ 25527 w 90106"/>
                  <a:gd name="connsiteY8" fmla="*/ 115443 h 138017"/>
                  <a:gd name="connsiteX9" fmla="*/ 90106 w 90106"/>
                  <a:gd name="connsiteY9" fmla="*/ 115443 h 138017"/>
                  <a:gd name="connsiteX10" fmla="*/ 90106 w 90106"/>
                  <a:gd name="connsiteY10" fmla="*/ 138017 h 138017"/>
                  <a:gd name="connsiteX11" fmla="*/ 0 w 90106"/>
                  <a:gd name="connsiteY11" fmla="*/ 138017 h 138017"/>
                  <a:gd name="connsiteX12" fmla="*/ 0 w 90106"/>
                  <a:gd name="connsiteY12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0106" h="138017">
                    <a:moveTo>
                      <a:pt x="95" y="0"/>
                    </a:moveTo>
                    <a:lnTo>
                      <a:pt x="87821" y="0"/>
                    </a:lnTo>
                    <a:lnTo>
                      <a:pt x="87821" y="22574"/>
                    </a:lnTo>
                    <a:lnTo>
                      <a:pt x="25527" y="22574"/>
                    </a:lnTo>
                    <a:lnTo>
                      <a:pt x="25527" y="57245"/>
                    </a:lnTo>
                    <a:lnTo>
                      <a:pt x="76676" y="57245"/>
                    </a:lnTo>
                    <a:lnTo>
                      <a:pt x="76676" y="79629"/>
                    </a:lnTo>
                    <a:lnTo>
                      <a:pt x="25527" y="79629"/>
                    </a:lnTo>
                    <a:lnTo>
                      <a:pt x="25527" y="115443"/>
                    </a:lnTo>
                    <a:lnTo>
                      <a:pt x="90106" y="115443"/>
                    </a:lnTo>
                    <a:lnTo>
                      <a:pt x="90106" y="138017"/>
                    </a:lnTo>
                    <a:lnTo>
                      <a:pt x="0" y="1380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DE846D20-6D53-4342-8A87-02AD5E46CBD0}"/>
                  </a:ext>
                </a:extLst>
              </p:cNvPr>
              <p:cNvSpPr/>
              <p:nvPr/>
            </p:nvSpPr>
            <p:spPr>
              <a:xfrm>
                <a:off x="7815293" y="1486605"/>
                <a:ext cx="91248" cy="142780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F6FAF991-3209-4698-B99E-C278D28105BC}"/>
                  </a:ext>
                </a:extLst>
              </p:cNvPr>
              <p:cNvSpPr/>
              <p:nvPr/>
            </p:nvSpPr>
            <p:spPr>
              <a:xfrm>
                <a:off x="7955977" y="1486605"/>
                <a:ext cx="91248" cy="142780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0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1" y="86678"/>
                      <a:pt x="36576" y="79439"/>
                    </a:cubicBezTo>
                    <a:cubicBezTo>
                      <a:pt x="19621" y="72390"/>
                      <a:pt x="190" y="63722"/>
                      <a:pt x="190" y="39910"/>
                    </a:cubicBezTo>
                    <a:cubicBezTo>
                      <a:pt x="190" y="16097"/>
                      <a:pt x="19240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8D2A6744-2636-4481-8DE1-FA302A03CAD9}"/>
                  </a:ext>
                </a:extLst>
              </p:cNvPr>
              <p:cNvSpPr/>
              <p:nvPr/>
            </p:nvSpPr>
            <p:spPr>
              <a:xfrm>
                <a:off x="8174101" y="1486605"/>
                <a:ext cx="91248" cy="142780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6778D8D3-459F-4BD1-8D72-FA6FBFE7DBAB}"/>
                  </a:ext>
                </a:extLst>
              </p:cNvPr>
              <p:cNvSpPr/>
              <p:nvPr/>
            </p:nvSpPr>
            <p:spPr>
              <a:xfrm>
                <a:off x="8312499" y="1486699"/>
                <a:ext cx="109157" cy="142874"/>
              </a:xfrm>
              <a:custGeom>
                <a:avLst/>
                <a:gdLst>
                  <a:gd name="connsiteX0" fmla="*/ 108966 w 109156"/>
                  <a:gd name="connsiteY0" fmla="*/ 132207 h 142875"/>
                  <a:gd name="connsiteX1" fmla="*/ 70866 w 109156"/>
                  <a:gd name="connsiteY1" fmla="*/ 142875 h 142875"/>
                  <a:gd name="connsiteX2" fmla="*/ 0 w 109156"/>
                  <a:gd name="connsiteY2" fmla="*/ 71819 h 142875"/>
                  <a:gd name="connsiteX3" fmla="*/ 70676 w 109156"/>
                  <a:gd name="connsiteY3" fmla="*/ 0 h 142875"/>
                  <a:gd name="connsiteX4" fmla="*/ 106871 w 109156"/>
                  <a:gd name="connsiteY4" fmla="*/ 8763 h 142875"/>
                  <a:gd name="connsiteX5" fmla="*/ 106871 w 109156"/>
                  <a:gd name="connsiteY5" fmla="*/ 35052 h 142875"/>
                  <a:gd name="connsiteX6" fmla="*/ 73247 w 109156"/>
                  <a:gd name="connsiteY6" fmla="*/ 24575 h 142875"/>
                  <a:gd name="connsiteX7" fmla="*/ 26575 w 109156"/>
                  <a:gd name="connsiteY7" fmla="*/ 71438 h 142875"/>
                  <a:gd name="connsiteX8" fmla="*/ 74105 w 109156"/>
                  <a:gd name="connsiteY8" fmla="*/ 118110 h 142875"/>
                  <a:gd name="connsiteX9" fmla="*/ 109157 w 109156"/>
                  <a:gd name="connsiteY9" fmla="*/ 105823 h 142875"/>
                  <a:gd name="connsiteX10" fmla="*/ 109157 w 109156"/>
                  <a:gd name="connsiteY10" fmla="*/ 132112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56" h="142875">
                    <a:moveTo>
                      <a:pt x="108966" y="132207"/>
                    </a:moveTo>
                    <a:cubicBezTo>
                      <a:pt x="100203" y="138779"/>
                      <a:pt x="86011" y="142875"/>
                      <a:pt x="70866" y="142875"/>
                    </a:cubicBezTo>
                    <a:cubicBezTo>
                      <a:pt x="30766" y="142875"/>
                      <a:pt x="0" y="112490"/>
                      <a:pt x="0" y="71819"/>
                    </a:cubicBezTo>
                    <a:cubicBezTo>
                      <a:pt x="0" y="31147"/>
                      <a:pt x="31147" y="0"/>
                      <a:pt x="70676" y="0"/>
                    </a:cubicBezTo>
                    <a:cubicBezTo>
                      <a:pt x="84296" y="0"/>
                      <a:pt x="96583" y="2953"/>
                      <a:pt x="106871" y="8763"/>
                    </a:cubicBezTo>
                    <a:lnTo>
                      <a:pt x="106871" y="35052"/>
                    </a:lnTo>
                    <a:cubicBezTo>
                      <a:pt x="96774" y="28289"/>
                      <a:pt x="84868" y="24575"/>
                      <a:pt x="73247" y="24575"/>
                    </a:cubicBezTo>
                    <a:cubicBezTo>
                      <a:pt x="46196" y="24575"/>
                      <a:pt x="26575" y="44387"/>
                      <a:pt x="26575" y="71438"/>
                    </a:cubicBezTo>
                    <a:cubicBezTo>
                      <a:pt x="26575" y="100870"/>
                      <a:pt x="48197" y="118110"/>
                      <a:pt x="74105" y="118110"/>
                    </a:cubicBezTo>
                    <a:cubicBezTo>
                      <a:pt x="86201" y="118110"/>
                      <a:pt x="98774" y="113824"/>
                      <a:pt x="109157" y="105823"/>
                    </a:cubicBezTo>
                    <a:lnTo>
                      <a:pt x="109157" y="13211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314BCE52-00DD-4083-BF01-388FDB6DC686}"/>
                  </a:ext>
                </a:extLst>
              </p:cNvPr>
              <p:cNvSpPr/>
              <p:nvPr/>
            </p:nvSpPr>
            <p:spPr>
              <a:xfrm>
                <a:off x="8477091" y="1489081"/>
                <a:ext cx="114680" cy="138208"/>
              </a:xfrm>
              <a:custGeom>
                <a:avLst/>
                <a:gdLst>
                  <a:gd name="connsiteX0" fmla="*/ 0 w 114680"/>
                  <a:gd name="connsiteY0" fmla="*/ 0 h 138207"/>
                  <a:gd name="connsiteX1" fmla="*/ 25717 w 114680"/>
                  <a:gd name="connsiteY1" fmla="*/ 0 h 138207"/>
                  <a:gd name="connsiteX2" fmla="*/ 25717 w 114680"/>
                  <a:gd name="connsiteY2" fmla="*/ 57055 h 138207"/>
                  <a:gd name="connsiteX3" fmla="*/ 88963 w 114680"/>
                  <a:gd name="connsiteY3" fmla="*/ 57055 h 138207"/>
                  <a:gd name="connsiteX4" fmla="*/ 88963 w 114680"/>
                  <a:gd name="connsiteY4" fmla="*/ 0 h 138207"/>
                  <a:gd name="connsiteX5" fmla="*/ 114681 w 114680"/>
                  <a:gd name="connsiteY5" fmla="*/ 0 h 138207"/>
                  <a:gd name="connsiteX6" fmla="*/ 114681 w 114680"/>
                  <a:gd name="connsiteY6" fmla="*/ 138208 h 138207"/>
                  <a:gd name="connsiteX7" fmla="*/ 88963 w 114680"/>
                  <a:gd name="connsiteY7" fmla="*/ 138208 h 138207"/>
                  <a:gd name="connsiteX8" fmla="*/ 88963 w 114680"/>
                  <a:gd name="connsiteY8" fmla="*/ 79820 h 138207"/>
                  <a:gd name="connsiteX9" fmla="*/ 25717 w 114680"/>
                  <a:gd name="connsiteY9" fmla="*/ 79820 h 138207"/>
                  <a:gd name="connsiteX10" fmla="*/ 25717 w 114680"/>
                  <a:gd name="connsiteY10" fmla="*/ 138208 h 138207"/>
                  <a:gd name="connsiteX11" fmla="*/ 0 w 114680"/>
                  <a:gd name="connsiteY11" fmla="*/ 138208 h 138207"/>
                  <a:gd name="connsiteX12" fmla="*/ 0 w 114680"/>
                  <a:gd name="connsiteY12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680" h="138207">
                    <a:moveTo>
                      <a:pt x="0" y="0"/>
                    </a:moveTo>
                    <a:lnTo>
                      <a:pt x="25717" y="0"/>
                    </a:lnTo>
                    <a:lnTo>
                      <a:pt x="25717" y="57055"/>
                    </a:lnTo>
                    <a:lnTo>
                      <a:pt x="88963" y="57055"/>
                    </a:lnTo>
                    <a:lnTo>
                      <a:pt x="88963" y="0"/>
                    </a:lnTo>
                    <a:lnTo>
                      <a:pt x="114681" y="0"/>
                    </a:lnTo>
                    <a:lnTo>
                      <a:pt x="114681" y="138208"/>
                    </a:lnTo>
                    <a:lnTo>
                      <a:pt x="88963" y="138208"/>
                    </a:lnTo>
                    <a:lnTo>
                      <a:pt x="88963" y="79820"/>
                    </a:lnTo>
                    <a:lnTo>
                      <a:pt x="25717" y="79820"/>
                    </a:lnTo>
                    <a:lnTo>
                      <a:pt x="25717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5A03EACF-B5F4-4EBF-91C3-3A865FFCED6A}"/>
                  </a:ext>
                </a:extLst>
              </p:cNvPr>
              <p:cNvSpPr/>
              <p:nvPr/>
            </p:nvSpPr>
            <p:spPr>
              <a:xfrm>
                <a:off x="8647780" y="1486796"/>
                <a:ext cx="143447" cy="142874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8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8 w 143446"/>
                  <a:gd name="connsiteY6" fmla="*/ 118300 h 142875"/>
                  <a:gd name="connsiteX7" fmla="*/ 116967 w 143446"/>
                  <a:gd name="connsiteY7" fmla="*/ 71438 h 142875"/>
                  <a:gd name="connsiteX8" fmla="*/ 71818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8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8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8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EBF80A1F-8D8C-4865-8F34-6A09A8A5E425}"/>
                  </a:ext>
                </a:extLst>
              </p:cNvPr>
              <p:cNvSpPr/>
              <p:nvPr/>
            </p:nvSpPr>
            <p:spPr>
              <a:xfrm>
                <a:off x="8838660" y="1486796"/>
                <a:ext cx="143447" cy="142874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9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9 w 143446"/>
                  <a:gd name="connsiteY6" fmla="*/ 118300 h 142875"/>
                  <a:gd name="connsiteX7" fmla="*/ 116967 w 143446"/>
                  <a:gd name="connsiteY7" fmla="*/ 71438 h 142875"/>
                  <a:gd name="connsiteX8" fmla="*/ 71819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9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9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9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C14FEC62-FDB5-4C65-A27B-2EC19FACD17E}"/>
                  </a:ext>
                </a:extLst>
              </p:cNvPr>
              <p:cNvSpPr/>
              <p:nvPr/>
            </p:nvSpPr>
            <p:spPr>
              <a:xfrm>
                <a:off x="9038115" y="1489175"/>
                <a:ext cx="82773" cy="138017"/>
              </a:xfrm>
              <a:custGeom>
                <a:avLst/>
                <a:gdLst>
                  <a:gd name="connsiteX0" fmla="*/ 0 w 82772"/>
                  <a:gd name="connsiteY0" fmla="*/ 95 h 138017"/>
                  <a:gd name="connsiteX1" fmla="*/ 25717 w 82772"/>
                  <a:gd name="connsiteY1" fmla="*/ 95 h 138017"/>
                  <a:gd name="connsiteX2" fmla="*/ 25717 w 82772"/>
                  <a:gd name="connsiteY2" fmla="*/ 115062 h 138017"/>
                  <a:gd name="connsiteX3" fmla="*/ 82772 w 82772"/>
                  <a:gd name="connsiteY3" fmla="*/ 115062 h 138017"/>
                  <a:gd name="connsiteX4" fmla="*/ 82772 w 82772"/>
                  <a:gd name="connsiteY4" fmla="*/ 138017 h 138017"/>
                  <a:gd name="connsiteX5" fmla="*/ 95 w 82772"/>
                  <a:gd name="connsiteY5" fmla="*/ 138017 h 138017"/>
                  <a:gd name="connsiteX6" fmla="*/ 95 w 82772"/>
                  <a:gd name="connsiteY6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772" h="138017">
                    <a:moveTo>
                      <a:pt x="0" y="95"/>
                    </a:moveTo>
                    <a:lnTo>
                      <a:pt x="25717" y="95"/>
                    </a:lnTo>
                    <a:lnTo>
                      <a:pt x="25717" y="115062"/>
                    </a:lnTo>
                    <a:lnTo>
                      <a:pt x="82772" y="115062"/>
                    </a:lnTo>
                    <a:lnTo>
                      <a:pt x="82772" y="138017"/>
                    </a:lnTo>
                    <a:lnTo>
                      <a:pt x="95" y="138017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9CF3A081-D839-41E6-A4FE-A25C1E9A8B2A}"/>
                  </a:ext>
                </a:extLst>
              </p:cNvPr>
              <p:cNvSpPr/>
              <p:nvPr/>
            </p:nvSpPr>
            <p:spPr>
              <a:xfrm>
                <a:off x="6935753" y="746892"/>
                <a:ext cx="605313" cy="605313"/>
              </a:xfrm>
              <a:custGeom>
                <a:avLst/>
                <a:gdLst>
                  <a:gd name="connsiteX0" fmla="*/ 605314 w 605313"/>
                  <a:gd name="connsiteY0" fmla="*/ 10287 h 605313"/>
                  <a:gd name="connsiteX1" fmla="*/ 605314 w 605313"/>
                  <a:gd name="connsiteY1" fmla="*/ 0 h 605313"/>
                  <a:gd name="connsiteX2" fmla="*/ 0 w 605313"/>
                  <a:gd name="connsiteY2" fmla="*/ 0 h 605313"/>
                  <a:gd name="connsiteX3" fmla="*/ 0 w 605313"/>
                  <a:gd name="connsiteY3" fmla="*/ 605314 h 605313"/>
                  <a:gd name="connsiteX4" fmla="*/ 10287 w 605313"/>
                  <a:gd name="connsiteY4" fmla="*/ 605314 h 605313"/>
                  <a:gd name="connsiteX5" fmla="*/ 605314 w 605313"/>
                  <a:gd name="connsiteY5" fmla="*/ 10287 h 60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313" h="605313">
                    <a:moveTo>
                      <a:pt x="605314" y="10287"/>
                    </a:moveTo>
                    <a:lnTo>
                      <a:pt x="605314" y="0"/>
                    </a:lnTo>
                    <a:lnTo>
                      <a:pt x="0" y="0"/>
                    </a:lnTo>
                    <a:lnTo>
                      <a:pt x="0" y="605314"/>
                    </a:lnTo>
                    <a:lnTo>
                      <a:pt x="10287" y="605314"/>
                    </a:lnTo>
                    <a:cubicBezTo>
                      <a:pt x="10287" y="278702"/>
                      <a:pt x="230219" y="10287"/>
                      <a:pt x="605314" y="10287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FB28AAEF-CC53-41BB-9D3B-DDD9447F752B}"/>
                  </a:ext>
                </a:extLst>
              </p:cNvPr>
              <p:cNvSpPr/>
              <p:nvPr/>
            </p:nvSpPr>
            <p:spPr>
              <a:xfrm>
                <a:off x="7047860" y="853762"/>
                <a:ext cx="493204" cy="498443"/>
              </a:xfrm>
              <a:custGeom>
                <a:avLst/>
                <a:gdLst>
                  <a:gd name="connsiteX0" fmla="*/ 493205 w 493204"/>
                  <a:gd name="connsiteY0" fmla="*/ 498443 h 498443"/>
                  <a:gd name="connsiteX1" fmla="*/ 493205 w 493204"/>
                  <a:gd name="connsiteY1" fmla="*/ 0 h 498443"/>
                  <a:gd name="connsiteX2" fmla="*/ 0 w 493204"/>
                  <a:gd name="connsiteY2" fmla="*/ 493205 h 498443"/>
                  <a:gd name="connsiteX3" fmla="*/ 95 w 493204"/>
                  <a:gd name="connsiteY3" fmla="*/ 498443 h 498443"/>
                  <a:gd name="connsiteX4" fmla="*/ 493205 w 493204"/>
                  <a:gd name="connsiteY4" fmla="*/ 498443 h 49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3204" h="498443">
                    <a:moveTo>
                      <a:pt x="493205" y="498443"/>
                    </a:moveTo>
                    <a:lnTo>
                      <a:pt x="493205" y="0"/>
                    </a:lnTo>
                    <a:cubicBezTo>
                      <a:pt x="220790" y="0"/>
                      <a:pt x="0" y="220790"/>
                      <a:pt x="0" y="493205"/>
                    </a:cubicBezTo>
                    <a:cubicBezTo>
                      <a:pt x="0" y="494919"/>
                      <a:pt x="95" y="496729"/>
                      <a:pt x="95" y="498443"/>
                    </a:cubicBezTo>
                    <a:lnTo>
                      <a:pt x="493205" y="498443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</p:grp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0BE8371-BCB3-4E3C-BE04-71BEC6FF36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628775"/>
            <a:ext cx="11017250" cy="4572000"/>
          </a:xfr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  <a:lvl2pPr marL="180000" indent="0">
              <a:buFont typeface="Wingdings" panose="05000000000000000000" pitchFamily="2" charset="2"/>
              <a:buNone/>
              <a:defRPr/>
            </a:lvl2pPr>
            <a:lvl3pPr marL="360000" indent="0">
              <a:buFont typeface="Wingdings" panose="05000000000000000000" pitchFamily="2" charset="2"/>
              <a:buNone/>
              <a:defRPr/>
            </a:lvl3pPr>
            <a:lvl4pPr marL="720000" indent="-180000">
              <a:buFont typeface="Wingdings" panose="05000000000000000000" pitchFamily="2" charset="2"/>
              <a:buChar char="§"/>
              <a:defRPr/>
            </a:lvl4pPr>
            <a:lvl5pPr marL="900000" indent="-180000">
              <a:buFont typeface="Wingdings" panose="05000000000000000000" pitchFamily="2" charset="2"/>
              <a:buChar char="§"/>
              <a:defRPr/>
            </a:lvl5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First level, Franklin Gothic Book, 14pt</a:t>
            </a:r>
            <a:endParaRPr lang="de-DE" dirty="0"/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Second level, Franklin Gothic Book, 14pt</a:t>
            </a:r>
            <a:endParaRPr lang="de-DE" dirty="0"/>
          </a:p>
          <a:p>
            <a:pPr marL="54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Third level, Franklin Gothic Book, 14pt</a:t>
            </a:r>
            <a:endParaRPr lang="de-DE" dirty="0"/>
          </a:p>
          <a:p>
            <a:pPr lvl="3"/>
            <a:r>
              <a:rPr lang="en-GB" noProof="0" dirty="0"/>
              <a:t>Fourth level, Franklin Gothic Book, 14pt</a:t>
            </a:r>
            <a:endParaRPr lang="de-DE" dirty="0"/>
          </a:p>
        </p:txBody>
      </p:sp>
      <p:sp>
        <p:nvSpPr>
          <p:cNvPr id="83" name="Bildplatzhalter 12">
            <a:extLst>
              <a:ext uri="{FF2B5EF4-FFF2-40B4-BE49-F238E27FC236}">
                <a16:creationId xmlns:a16="http://schemas.microsoft.com/office/drawing/2014/main" id="{FD8B29CA-30E8-4B65-8886-0FF5BC8B0E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546715" y="180355"/>
            <a:ext cx="1477963" cy="528637"/>
          </a:xfrm>
        </p:spPr>
        <p:txBody>
          <a:bodyPr/>
          <a:lstStyle>
            <a:lvl1pPr>
              <a:defRPr lang="en-GB" sz="1400" kern="1200" noProof="0" dirty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noProof="0" dirty="0"/>
              <a:t>You can place your logo(s) her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0790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8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7C10711-1AAA-0885-6F7F-8A793250DD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65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4" imgW="480" imgH="481" progId="TCLayout.ActiveDocument.1">
                  <p:embed/>
                </p:oleObj>
              </mc:Choice>
              <mc:Fallback>
                <p:oleObj name="think-cell Folie" r:id="rId4" imgW="480" imgH="48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7C10711-1AAA-0885-6F7F-8A793250DD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2A42695C-A376-9F56-849A-82B43667992D}"/>
              </a:ext>
            </a:extLst>
          </p:cNvPr>
          <p:cNvSpPr>
            <a:spLocks/>
          </p:cNvSpPr>
          <p:nvPr userDrawn="1"/>
        </p:nvSpPr>
        <p:spPr>
          <a:xfrm>
            <a:off x="1" y="1632121"/>
            <a:ext cx="12191999" cy="685685"/>
          </a:xfrm>
          <a:custGeom>
            <a:avLst/>
            <a:gdLst>
              <a:gd name="connsiteX0" fmla="*/ 12191999 w 12191999"/>
              <a:gd name="connsiteY0" fmla="*/ 0 h 685685"/>
              <a:gd name="connsiteX1" fmla="*/ 12191998 w 12191999"/>
              <a:gd name="connsiteY1" fmla="*/ 141164 h 685685"/>
              <a:gd name="connsiteX2" fmla="*/ 0 w 12191999"/>
              <a:gd name="connsiteY2" fmla="*/ 685685 h 685685"/>
              <a:gd name="connsiteX3" fmla="*/ 0 w 12191999"/>
              <a:gd name="connsiteY3" fmla="*/ 544520 h 685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685">
                <a:moveTo>
                  <a:pt x="12191999" y="0"/>
                </a:moveTo>
                <a:lnTo>
                  <a:pt x="12191998" y="141164"/>
                </a:lnTo>
                <a:lnTo>
                  <a:pt x="0" y="685685"/>
                </a:lnTo>
                <a:lnTo>
                  <a:pt x="0" y="544520"/>
                </a:lnTo>
                <a:close/>
              </a:path>
            </a:pathLst>
          </a:custGeom>
          <a:gradFill flip="none" rotWithShape="1">
            <a:gsLst>
              <a:gs pos="100000">
                <a:srgbClr val="0F3F8F"/>
              </a:gs>
              <a:gs pos="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9B1A15-56E3-40CE-FB22-1E3E9FB467F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55687" y="3776028"/>
            <a:ext cx="10548937" cy="984885"/>
          </a:xfrm>
        </p:spPr>
        <p:txBody>
          <a:bodyPr vert="horz" anchor="b"/>
          <a:lstStyle>
            <a:lvl1pPr>
              <a:defRPr sz="8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noProof="0" dirty="0"/>
              <a:t>Closing, 80pt</a:t>
            </a:r>
          </a:p>
        </p:txBody>
      </p:sp>
      <p:sp>
        <p:nvSpPr>
          <p:cNvPr id="76" name="Textplatzhalter 75">
            <a:extLst>
              <a:ext uri="{FF2B5EF4-FFF2-40B4-BE49-F238E27FC236}">
                <a16:creationId xmlns:a16="http://schemas.microsoft.com/office/drawing/2014/main" id="{789F9F71-1D4B-9B1B-B1C4-FBB19429F5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5687" y="5408613"/>
            <a:ext cx="2311401" cy="198438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>
                <a:solidFill>
                  <a:schemeClr val="bg2"/>
                </a:solidFill>
                <a:latin typeface="+mj-lt"/>
              </a:defRPr>
            </a:lvl1pPr>
            <a:lvl2pPr marL="1800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3600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5400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7200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First Name and Surname</a:t>
            </a:r>
          </a:p>
        </p:txBody>
      </p:sp>
      <p:sp>
        <p:nvSpPr>
          <p:cNvPr id="78" name="Textplatzhalter 77">
            <a:extLst>
              <a:ext uri="{FF2B5EF4-FFF2-40B4-BE49-F238E27FC236}">
                <a16:creationId xmlns:a16="http://schemas.microsoft.com/office/drawing/2014/main" id="{9F39DCAE-C8FD-41CA-A4DE-123FE17D6C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5688" y="5662166"/>
            <a:ext cx="2311401" cy="538609"/>
          </a:xfrm>
        </p:spPr>
        <p:txBody>
          <a:bodyPr>
            <a:spAutoFit/>
          </a:bodyPr>
          <a:lstStyle>
            <a:lvl1pPr marL="0" indent="0">
              <a:spcAft>
                <a:spcPts val="300"/>
              </a:spcAft>
              <a:buNone/>
              <a:defRPr sz="1000">
                <a:solidFill>
                  <a:schemeClr val="bg2"/>
                </a:solidFill>
              </a:defRPr>
            </a:lvl1pPr>
            <a:lvl2pPr marL="180000" indent="0">
              <a:buNone/>
              <a:defRPr>
                <a:solidFill>
                  <a:schemeClr val="accent2"/>
                </a:solidFill>
              </a:defRPr>
            </a:lvl2pPr>
            <a:lvl3pPr marL="360000" indent="0">
              <a:buNone/>
              <a:defRPr>
                <a:solidFill>
                  <a:schemeClr val="accent2"/>
                </a:solidFill>
              </a:defRPr>
            </a:lvl3pPr>
            <a:lvl4pPr marL="540000" indent="0">
              <a:buNone/>
              <a:defRPr>
                <a:solidFill>
                  <a:schemeClr val="accent2"/>
                </a:solidFill>
              </a:defRPr>
            </a:lvl4pPr>
            <a:lvl5pPr marL="720000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 dirty="0"/>
              <a:t>Position </a:t>
            </a:r>
          </a:p>
          <a:p>
            <a:pPr lvl="0"/>
            <a:r>
              <a:rPr lang="en-GB" noProof="0" dirty="0"/>
              <a:t>Contact Details</a:t>
            </a:r>
          </a:p>
          <a:p>
            <a:pPr lvl="0"/>
            <a:r>
              <a:rPr lang="en-GB" noProof="0" dirty="0"/>
              <a:t>(Email, LinkedIn, …)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09D6BFB-E0DB-4A2E-A87C-A1EACBD88639}"/>
              </a:ext>
            </a:extLst>
          </p:cNvPr>
          <p:cNvGrpSpPr/>
          <p:nvPr userDrawn="1"/>
        </p:nvGrpSpPr>
        <p:grpSpPr>
          <a:xfrm>
            <a:off x="1055687" y="620826"/>
            <a:ext cx="6264710" cy="752944"/>
            <a:chOff x="1055687" y="620826"/>
            <a:chExt cx="6264710" cy="752944"/>
          </a:xfrm>
        </p:grpSpPr>
        <p:grpSp>
          <p:nvGrpSpPr>
            <p:cNvPr id="130" name="Gruppieren 129">
              <a:extLst>
                <a:ext uri="{FF2B5EF4-FFF2-40B4-BE49-F238E27FC236}">
                  <a16:creationId xmlns:a16="http://schemas.microsoft.com/office/drawing/2014/main" id="{DA698AC9-87D1-4BC0-9FAD-046022FB361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4816528" y="647004"/>
              <a:ext cx="2503869" cy="676420"/>
              <a:chOff x="8478545" y="5246530"/>
              <a:chExt cx="1667065" cy="403002"/>
            </a:xfrm>
          </p:grpSpPr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A2C3F254-297E-4B6C-BC07-D9FAE7B6C04A}"/>
                  </a:ext>
                </a:extLst>
              </p:cNvPr>
              <p:cNvSpPr/>
              <p:nvPr/>
            </p:nvSpPr>
            <p:spPr>
              <a:xfrm>
                <a:off x="8478545" y="5510658"/>
                <a:ext cx="192690" cy="79152"/>
              </a:xfrm>
              <a:custGeom>
                <a:avLst/>
                <a:gdLst>
                  <a:gd name="connsiteX0" fmla="*/ 192596 w 192690"/>
                  <a:gd name="connsiteY0" fmla="*/ 61913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4 h 79152"/>
                  <a:gd name="connsiteX8" fmla="*/ 92012 w 192690"/>
                  <a:gd name="connsiteY8" fmla="*/ 12764 h 79152"/>
                  <a:gd name="connsiteX9" fmla="*/ 89821 w 192690"/>
                  <a:gd name="connsiteY9" fmla="*/ 14954 h 79152"/>
                  <a:gd name="connsiteX10" fmla="*/ 89821 w 192690"/>
                  <a:gd name="connsiteY10" fmla="*/ 19241 h 79152"/>
                  <a:gd name="connsiteX11" fmla="*/ 130493 w 192690"/>
                  <a:gd name="connsiteY11" fmla="*/ 19241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1 h 79152"/>
                  <a:gd name="connsiteX15" fmla="*/ 141161 w 192690"/>
                  <a:gd name="connsiteY15" fmla="*/ 19241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8 h 79152"/>
                  <a:gd name="connsiteX27" fmla="*/ 27813 w 192690"/>
                  <a:gd name="connsiteY27" fmla="*/ 25718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6 h 79152"/>
                  <a:gd name="connsiteX39" fmla="*/ 17145 w 192690"/>
                  <a:gd name="connsiteY39" fmla="*/ 70676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626 h 79152"/>
                  <a:gd name="connsiteX46" fmla="*/ 132779 w 192690"/>
                  <a:gd name="connsiteY46" fmla="*/ 70580 h 79152"/>
                  <a:gd name="connsiteX47" fmla="*/ 117824 w 192690"/>
                  <a:gd name="connsiteY47" fmla="*/ 70580 h 79152"/>
                  <a:gd name="connsiteX48" fmla="*/ 115634 w 192690"/>
                  <a:gd name="connsiteY48" fmla="*/ 72771 h 79152"/>
                  <a:gd name="connsiteX49" fmla="*/ 115634 w 192690"/>
                  <a:gd name="connsiteY49" fmla="*/ 79153 h 79152"/>
                  <a:gd name="connsiteX50" fmla="*/ 139160 w 192690"/>
                  <a:gd name="connsiteY50" fmla="*/ 79153 h 79152"/>
                  <a:gd name="connsiteX51" fmla="*/ 162687 w 192690"/>
                  <a:gd name="connsiteY51" fmla="*/ 55626 h 79152"/>
                  <a:gd name="connsiteX52" fmla="*/ 179832 w 192690"/>
                  <a:gd name="connsiteY52" fmla="*/ 70580 h 79152"/>
                  <a:gd name="connsiteX53" fmla="*/ 166973 w 192690"/>
                  <a:gd name="connsiteY53" fmla="*/ 70580 h 79152"/>
                  <a:gd name="connsiteX54" fmla="*/ 164783 w 192690"/>
                  <a:gd name="connsiteY54" fmla="*/ 72771 h 79152"/>
                  <a:gd name="connsiteX55" fmla="*/ 164783 w 192690"/>
                  <a:gd name="connsiteY55" fmla="*/ 79153 h 79152"/>
                  <a:gd name="connsiteX56" fmla="*/ 190500 w 192690"/>
                  <a:gd name="connsiteY56" fmla="*/ 79153 h 79152"/>
                  <a:gd name="connsiteX57" fmla="*/ 192691 w 192690"/>
                  <a:gd name="connsiteY57" fmla="*/ 77057 h 79152"/>
                  <a:gd name="connsiteX58" fmla="*/ 192691 w 192690"/>
                  <a:gd name="connsiteY58" fmla="*/ 62103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3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4"/>
                    </a:lnTo>
                    <a:lnTo>
                      <a:pt x="92012" y="12764"/>
                    </a:lnTo>
                    <a:lnTo>
                      <a:pt x="89821" y="14954"/>
                    </a:lnTo>
                    <a:lnTo>
                      <a:pt x="89821" y="19241"/>
                    </a:lnTo>
                    <a:lnTo>
                      <a:pt x="130493" y="19241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1"/>
                    </a:lnTo>
                    <a:lnTo>
                      <a:pt x="141161" y="19241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8"/>
                    </a:lnTo>
                    <a:lnTo>
                      <a:pt x="27813" y="25718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6"/>
                    </a:lnTo>
                    <a:lnTo>
                      <a:pt x="17145" y="70676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626"/>
                      <a:pt x="132779" y="51626"/>
                    </a:cubicBezTo>
                    <a:lnTo>
                      <a:pt x="132779" y="70580"/>
                    </a:lnTo>
                    <a:lnTo>
                      <a:pt x="117824" y="70580"/>
                    </a:lnTo>
                    <a:lnTo>
                      <a:pt x="115634" y="72771"/>
                    </a:lnTo>
                    <a:lnTo>
                      <a:pt x="115634" y="79153"/>
                    </a:lnTo>
                    <a:lnTo>
                      <a:pt x="139160" y="79153"/>
                    </a:lnTo>
                    <a:lnTo>
                      <a:pt x="162687" y="55626"/>
                    </a:lnTo>
                    <a:lnTo>
                      <a:pt x="179832" y="70580"/>
                    </a:lnTo>
                    <a:lnTo>
                      <a:pt x="166973" y="70580"/>
                    </a:lnTo>
                    <a:lnTo>
                      <a:pt x="164783" y="72771"/>
                    </a:lnTo>
                    <a:lnTo>
                      <a:pt x="164783" y="79153"/>
                    </a:lnTo>
                    <a:lnTo>
                      <a:pt x="190500" y="79153"/>
                    </a:lnTo>
                    <a:lnTo>
                      <a:pt x="192691" y="77057"/>
                    </a:lnTo>
                    <a:lnTo>
                      <a:pt x="192691" y="6210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2" name="Freihandform: Form 131">
                <a:extLst>
                  <a:ext uri="{FF2B5EF4-FFF2-40B4-BE49-F238E27FC236}">
                    <a16:creationId xmlns:a16="http://schemas.microsoft.com/office/drawing/2014/main" id="{DD9A5F3E-BFD6-4F65-BB85-FFE7FC2DC74F}"/>
                  </a:ext>
                </a:extLst>
              </p:cNvPr>
              <p:cNvSpPr/>
              <p:nvPr/>
            </p:nvSpPr>
            <p:spPr>
              <a:xfrm>
                <a:off x="8478545" y="5397120"/>
                <a:ext cx="192690" cy="79152"/>
              </a:xfrm>
              <a:custGeom>
                <a:avLst/>
                <a:gdLst>
                  <a:gd name="connsiteX0" fmla="*/ 192596 w 192690"/>
                  <a:gd name="connsiteY0" fmla="*/ 61912 h 79152"/>
                  <a:gd name="connsiteX1" fmla="*/ 177641 w 192690"/>
                  <a:gd name="connsiteY1" fmla="*/ 46958 h 79152"/>
                  <a:gd name="connsiteX2" fmla="*/ 177641 w 192690"/>
                  <a:gd name="connsiteY2" fmla="*/ 27718 h 79152"/>
                  <a:gd name="connsiteX3" fmla="*/ 181928 w 192690"/>
                  <a:gd name="connsiteY3" fmla="*/ 23432 h 79152"/>
                  <a:gd name="connsiteX4" fmla="*/ 181928 w 192690"/>
                  <a:gd name="connsiteY4" fmla="*/ 8477 h 79152"/>
                  <a:gd name="connsiteX5" fmla="*/ 177641 w 192690"/>
                  <a:gd name="connsiteY5" fmla="*/ 4191 h 79152"/>
                  <a:gd name="connsiteX6" fmla="*/ 134874 w 192690"/>
                  <a:gd name="connsiteY6" fmla="*/ 4191 h 79152"/>
                  <a:gd name="connsiteX7" fmla="*/ 126302 w 192690"/>
                  <a:gd name="connsiteY7" fmla="*/ 12763 h 79152"/>
                  <a:gd name="connsiteX8" fmla="*/ 92012 w 192690"/>
                  <a:gd name="connsiteY8" fmla="*/ 12763 h 79152"/>
                  <a:gd name="connsiteX9" fmla="*/ 89821 w 192690"/>
                  <a:gd name="connsiteY9" fmla="*/ 14954 h 79152"/>
                  <a:gd name="connsiteX10" fmla="*/ 89821 w 192690"/>
                  <a:gd name="connsiteY10" fmla="*/ 19240 h 79152"/>
                  <a:gd name="connsiteX11" fmla="*/ 130493 w 192690"/>
                  <a:gd name="connsiteY11" fmla="*/ 19240 h 79152"/>
                  <a:gd name="connsiteX12" fmla="*/ 139065 w 192690"/>
                  <a:gd name="connsiteY12" fmla="*/ 10668 h 79152"/>
                  <a:gd name="connsiteX13" fmla="*/ 175451 w 192690"/>
                  <a:gd name="connsiteY13" fmla="*/ 10668 h 79152"/>
                  <a:gd name="connsiteX14" fmla="*/ 175451 w 192690"/>
                  <a:gd name="connsiteY14" fmla="*/ 19240 h 79152"/>
                  <a:gd name="connsiteX15" fmla="*/ 141161 w 192690"/>
                  <a:gd name="connsiteY15" fmla="*/ 19240 h 79152"/>
                  <a:gd name="connsiteX16" fmla="*/ 132588 w 192690"/>
                  <a:gd name="connsiteY16" fmla="*/ 27813 h 79152"/>
                  <a:gd name="connsiteX17" fmla="*/ 85534 w 192690"/>
                  <a:gd name="connsiteY17" fmla="*/ 27813 h 79152"/>
                  <a:gd name="connsiteX18" fmla="*/ 72676 w 192690"/>
                  <a:gd name="connsiteY18" fmla="*/ 14954 h 79152"/>
                  <a:gd name="connsiteX19" fmla="*/ 70580 w 192690"/>
                  <a:gd name="connsiteY19" fmla="*/ 0 h 79152"/>
                  <a:gd name="connsiteX20" fmla="*/ 66294 w 192690"/>
                  <a:gd name="connsiteY20" fmla="*/ 6382 h 79152"/>
                  <a:gd name="connsiteX21" fmla="*/ 34195 w 192690"/>
                  <a:gd name="connsiteY21" fmla="*/ 6382 h 79152"/>
                  <a:gd name="connsiteX22" fmla="*/ 34195 w 192690"/>
                  <a:gd name="connsiteY22" fmla="*/ 8572 h 79152"/>
                  <a:gd name="connsiteX23" fmla="*/ 27813 w 192690"/>
                  <a:gd name="connsiteY23" fmla="*/ 12859 h 79152"/>
                  <a:gd name="connsiteX24" fmla="*/ 27813 w 192690"/>
                  <a:gd name="connsiteY24" fmla="*/ 21431 h 79152"/>
                  <a:gd name="connsiteX25" fmla="*/ 36386 w 192690"/>
                  <a:gd name="connsiteY25" fmla="*/ 21431 h 79152"/>
                  <a:gd name="connsiteX26" fmla="*/ 32099 w 192690"/>
                  <a:gd name="connsiteY26" fmla="*/ 25717 h 79152"/>
                  <a:gd name="connsiteX27" fmla="*/ 27813 w 192690"/>
                  <a:gd name="connsiteY27" fmla="*/ 25717 h 79152"/>
                  <a:gd name="connsiteX28" fmla="*/ 27813 w 192690"/>
                  <a:gd name="connsiteY28" fmla="*/ 30004 h 79152"/>
                  <a:gd name="connsiteX29" fmla="*/ 29909 w 192690"/>
                  <a:gd name="connsiteY29" fmla="*/ 32195 h 79152"/>
                  <a:gd name="connsiteX30" fmla="*/ 47149 w 192690"/>
                  <a:gd name="connsiteY30" fmla="*/ 32195 h 79152"/>
                  <a:gd name="connsiteX31" fmla="*/ 42863 w 192690"/>
                  <a:gd name="connsiteY31" fmla="*/ 45053 h 79152"/>
                  <a:gd name="connsiteX32" fmla="*/ 36290 w 192690"/>
                  <a:gd name="connsiteY32" fmla="*/ 45053 h 79152"/>
                  <a:gd name="connsiteX33" fmla="*/ 21336 w 192690"/>
                  <a:gd name="connsiteY33" fmla="*/ 32195 h 79152"/>
                  <a:gd name="connsiteX34" fmla="*/ 2096 w 192690"/>
                  <a:gd name="connsiteY34" fmla="*/ 32195 h 79152"/>
                  <a:gd name="connsiteX35" fmla="*/ 0 w 192690"/>
                  <a:gd name="connsiteY35" fmla="*/ 34290 h 79152"/>
                  <a:gd name="connsiteX36" fmla="*/ 0 w 192690"/>
                  <a:gd name="connsiteY36" fmla="*/ 40672 h 79152"/>
                  <a:gd name="connsiteX37" fmla="*/ 17145 w 192690"/>
                  <a:gd name="connsiteY37" fmla="*/ 40672 h 79152"/>
                  <a:gd name="connsiteX38" fmla="*/ 47149 w 192690"/>
                  <a:gd name="connsiteY38" fmla="*/ 70675 h 79152"/>
                  <a:gd name="connsiteX39" fmla="*/ 17145 w 192690"/>
                  <a:gd name="connsiteY39" fmla="*/ 70675 h 79152"/>
                  <a:gd name="connsiteX40" fmla="*/ 14954 w 192690"/>
                  <a:gd name="connsiteY40" fmla="*/ 72771 h 79152"/>
                  <a:gd name="connsiteX41" fmla="*/ 14954 w 192690"/>
                  <a:gd name="connsiteY41" fmla="*/ 79153 h 79152"/>
                  <a:gd name="connsiteX42" fmla="*/ 64770 w 192690"/>
                  <a:gd name="connsiteY42" fmla="*/ 79153 h 79152"/>
                  <a:gd name="connsiteX43" fmla="*/ 74962 w 192690"/>
                  <a:gd name="connsiteY43" fmla="*/ 68485 h 79152"/>
                  <a:gd name="connsiteX44" fmla="*/ 109823 w 192690"/>
                  <a:gd name="connsiteY44" fmla="*/ 60293 h 79152"/>
                  <a:gd name="connsiteX45" fmla="*/ 132779 w 192690"/>
                  <a:gd name="connsiteY45" fmla="*/ 51530 h 79152"/>
                  <a:gd name="connsiteX46" fmla="*/ 132779 w 192690"/>
                  <a:gd name="connsiteY46" fmla="*/ 70485 h 79152"/>
                  <a:gd name="connsiteX47" fmla="*/ 117824 w 192690"/>
                  <a:gd name="connsiteY47" fmla="*/ 70485 h 79152"/>
                  <a:gd name="connsiteX48" fmla="*/ 115634 w 192690"/>
                  <a:gd name="connsiteY48" fmla="*/ 72676 h 79152"/>
                  <a:gd name="connsiteX49" fmla="*/ 115634 w 192690"/>
                  <a:gd name="connsiteY49" fmla="*/ 79058 h 79152"/>
                  <a:gd name="connsiteX50" fmla="*/ 139160 w 192690"/>
                  <a:gd name="connsiteY50" fmla="*/ 79058 h 79152"/>
                  <a:gd name="connsiteX51" fmla="*/ 162687 w 192690"/>
                  <a:gd name="connsiteY51" fmla="*/ 55531 h 79152"/>
                  <a:gd name="connsiteX52" fmla="*/ 179832 w 192690"/>
                  <a:gd name="connsiteY52" fmla="*/ 70485 h 79152"/>
                  <a:gd name="connsiteX53" fmla="*/ 166973 w 192690"/>
                  <a:gd name="connsiteY53" fmla="*/ 70485 h 79152"/>
                  <a:gd name="connsiteX54" fmla="*/ 164783 w 192690"/>
                  <a:gd name="connsiteY54" fmla="*/ 72676 h 79152"/>
                  <a:gd name="connsiteX55" fmla="*/ 164783 w 192690"/>
                  <a:gd name="connsiteY55" fmla="*/ 79058 h 79152"/>
                  <a:gd name="connsiteX56" fmla="*/ 190500 w 192690"/>
                  <a:gd name="connsiteY56" fmla="*/ 79058 h 79152"/>
                  <a:gd name="connsiteX57" fmla="*/ 192691 w 192690"/>
                  <a:gd name="connsiteY57" fmla="*/ 76962 h 79152"/>
                  <a:gd name="connsiteX58" fmla="*/ 192691 w 192690"/>
                  <a:gd name="connsiteY58" fmla="*/ 62008 h 7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152">
                    <a:moveTo>
                      <a:pt x="192596" y="61912"/>
                    </a:moveTo>
                    <a:lnTo>
                      <a:pt x="177641" y="46958"/>
                    </a:lnTo>
                    <a:lnTo>
                      <a:pt x="177641" y="27718"/>
                    </a:lnTo>
                    <a:lnTo>
                      <a:pt x="181928" y="23432"/>
                    </a:lnTo>
                    <a:lnTo>
                      <a:pt x="181928" y="8477"/>
                    </a:lnTo>
                    <a:lnTo>
                      <a:pt x="177641" y="4191"/>
                    </a:lnTo>
                    <a:lnTo>
                      <a:pt x="134874" y="4191"/>
                    </a:lnTo>
                    <a:lnTo>
                      <a:pt x="126302" y="12763"/>
                    </a:lnTo>
                    <a:lnTo>
                      <a:pt x="92012" y="12763"/>
                    </a:lnTo>
                    <a:lnTo>
                      <a:pt x="89821" y="14954"/>
                    </a:lnTo>
                    <a:lnTo>
                      <a:pt x="89821" y="19240"/>
                    </a:lnTo>
                    <a:lnTo>
                      <a:pt x="130493" y="19240"/>
                    </a:lnTo>
                    <a:lnTo>
                      <a:pt x="139065" y="10668"/>
                    </a:lnTo>
                    <a:lnTo>
                      <a:pt x="175451" y="10668"/>
                    </a:lnTo>
                    <a:lnTo>
                      <a:pt x="175451" y="19240"/>
                    </a:lnTo>
                    <a:lnTo>
                      <a:pt x="141161" y="19240"/>
                    </a:lnTo>
                    <a:lnTo>
                      <a:pt x="132588" y="27813"/>
                    </a:lnTo>
                    <a:lnTo>
                      <a:pt x="85534" y="27813"/>
                    </a:lnTo>
                    <a:lnTo>
                      <a:pt x="72676" y="14954"/>
                    </a:lnTo>
                    <a:cubicBezTo>
                      <a:pt x="72676" y="14954"/>
                      <a:pt x="74105" y="4953"/>
                      <a:pt x="70580" y="0"/>
                    </a:cubicBezTo>
                    <a:lnTo>
                      <a:pt x="66294" y="6382"/>
                    </a:lnTo>
                    <a:lnTo>
                      <a:pt x="34195" y="6382"/>
                    </a:lnTo>
                    <a:lnTo>
                      <a:pt x="34195" y="8572"/>
                    </a:lnTo>
                    <a:lnTo>
                      <a:pt x="27813" y="12859"/>
                    </a:lnTo>
                    <a:lnTo>
                      <a:pt x="27813" y="21431"/>
                    </a:lnTo>
                    <a:lnTo>
                      <a:pt x="36386" y="21431"/>
                    </a:lnTo>
                    <a:lnTo>
                      <a:pt x="32099" y="25717"/>
                    </a:lnTo>
                    <a:lnTo>
                      <a:pt x="27813" y="25717"/>
                    </a:lnTo>
                    <a:lnTo>
                      <a:pt x="27813" y="30004"/>
                    </a:lnTo>
                    <a:lnTo>
                      <a:pt x="29909" y="32195"/>
                    </a:lnTo>
                    <a:lnTo>
                      <a:pt x="47149" y="32195"/>
                    </a:lnTo>
                    <a:lnTo>
                      <a:pt x="42863" y="45053"/>
                    </a:lnTo>
                    <a:lnTo>
                      <a:pt x="36290" y="45053"/>
                    </a:lnTo>
                    <a:lnTo>
                      <a:pt x="21336" y="32195"/>
                    </a:lnTo>
                    <a:lnTo>
                      <a:pt x="2096" y="32195"/>
                    </a:lnTo>
                    <a:lnTo>
                      <a:pt x="0" y="34290"/>
                    </a:lnTo>
                    <a:lnTo>
                      <a:pt x="0" y="40672"/>
                    </a:lnTo>
                    <a:lnTo>
                      <a:pt x="17145" y="40672"/>
                    </a:lnTo>
                    <a:lnTo>
                      <a:pt x="47149" y="70675"/>
                    </a:lnTo>
                    <a:lnTo>
                      <a:pt x="17145" y="70675"/>
                    </a:lnTo>
                    <a:lnTo>
                      <a:pt x="14954" y="72771"/>
                    </a:lnTo>
                    <a:lnTo>
                      <a:pt x="14954" y="79153"/>
                    </a:lnTo>
                    <a:lnTo>
                      <a:pt x="64770" y="79153"/>
                    </a:lnTo>
                    <a:lnTo>
                      <a:pt x="74962" y="68485"/>
                    </a:lnTo>
                    <a:cubicBezTo>
                      <a:pt x="74962" y="68485"/>
                      <a:pt x="92964" y="70580"/>
                      <a:pt x="109823" y="60293"/>
                    </a:cubicBezTo>
                    <a:cubicBezTo>
                      <a:pt x="121253" y="53245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676"/>
                    </a:lnTo>
                    <a:lnTo>
                      <a:pt x="115634" y="79058"/>
                    </a:lnTo>
                    <a:lnTo>
                      <a:pt x="139160" y="79058"/>
                    </a:lnTo>
                    <a:lnTo>
                      <a:pt x="162687" y="55531"/>
                    </a:lnTo>
                    <a:lnTo>
                      <a:pt x="179832" y="70485"/>
                    </a:lnTo>
                    <a:lnTo>
                      <a:pt x="166973" y="70485"/>
                    </a:lnTo>
                    <a:lnTo>
                      <a:pt x="164783" y="72676"/>
                    </a:lnTo>
                    <a:lnTo>
                      <a:pt x="164783" y="79058"/>
                    </a:lnTo>
                    <a:lnTo>
                      <a:pt x="190500" y="79058"/>
                    </a:lnTo>
                    <a:lnTo>
                      <a:pt x="192691" y="76962"/>
                    </a:lnTo>
                    <a:lnTo>
                      <a:pt x="192691" y="6200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3" name="Freihandform: Form 132">
                <a:extLst>
                  <a:ext uri="{FF2B5EF4-FFF2-40B4-BE49-F238E27FC236}">
                    <a16:creationId xmlns:a16="http://schemas.microsoft.com/office/drawing/2014/main" id="{DC76C3A2-5E3F-4AA8-A818-CDD9B858A85C}"/>
                  </a:ext>
                </a:extLst>
              </p:cNvPr>
              <p:cNvSpPr/>
              <p:nvPr/>
            </p:nvSpPr>
            <p:spPr>
              <a:xfrm>
                <a:off x="8478545" y="5283487"/>
                <a:ext cx="192690" cy="79057"/>
              </a:xfrm>
              <a:custGeom>
                <a:avLst/>
                <a:gdLst>
                  <a:gd name="connsiteX0" fmla="*/ 192596 w 192690"/>
                  <a:gd name="connsiteY0" fmla="*/ 62008 h 79057"/>
                  <a:gd name="connsiteX1" fmla="*/ 177641 w 192690"/>
                  <a:gd name="connsiteY1" fmla="*/ 47053 h 79057"/>
                  <a:gd name="connsiteX2" fmla="*/ 177641 w 192690"/>
                  <a:gd name="connsiteY2" fmla="*/ 27813 h 79057"/>
                  <a:gd name="connsiteX3" fmla="*/ 181928 w 192690"/>
                  <a:gd name="connsiteY3" fmla="*/ 23527 h 79057"/>
                  <a:gd name="connsiteX4" fmla="*/ 181928 w 192690"/>
                  <a:gd name="connsiteY4" fmla="*/ 8573 h 79057"/>
                  <a:gd name="connsiteX5" fmla="*/ 177641 w 192690"/>
                  <a:gd name="connsiteY5" fmla="*/ 4286 h 79057"/>
                  <a:gd name="connsiteX6" fmla="*/ 134874 w 192690"/>
                  <a:gd name="connsiteY6" fmla="*/ 4286 h 79057"/>
                  <a:gd name="connsiteX7" fmla="*/ 126302 w 192690"/>
                  <a:gd name="connsiteY7" fmla="*/ 12859 h 79057"/>
                  <a:gd name="connsiteX8" fmla="*/ 92012 w 192690"/>
                  <a:gd name="connsiteY8" fmla="*/ 12859 h 79057"/>
                  <a:gd name="connsiteX9" fmla="*/ 89916 w 192690"/>
                  <a:gd name="connsiteY9" fmla="*/ 14954 h 79057"/>
                  <a:gd name="connsiteX10" fmla="*/ 89916 w 192690"/>
                  <a:gd name="connsiteY10" fmla="*/ 19241 h 79057"/>
                  <a:gd name="connsiteX11" fmla="*/ 130588 w 192690"/>
                  <a:gd name="connsiteY11" fmla="*/ 19241 h 79057"/>
                  <a:gd name="connsiteX12" fmla="*/ 139160 w 192690"/>
                  <a:gd name="connsiteY12" fmla="*/ 10668 h 79057"/>
                  <a:gd name="connsiteX13" fmla="*/ 175546 w 192690"/>
                  <a:gd name="connsiteY13" fmla="*/ 10668 h 79057"/>
                  <a:gd name="connsiteX14" fmla="*/ 175546 w 192690"/>
                  <a:gd name="connsiteY14" fmla="*/ 19241 h 79057"/>
                  <a:gd name="connsiteX15" fmla="*/ 141256 w 192690"/>
                  <a:gd name="connsiteY15" fmla="*/ 19241 h 79057"/>
                  <a:gd name="connsiteX16" fmla="*/ 132683 w 192690"/>
                  <a:gd name="connsiteY16" fmla="*/ 27813 h 79057"/>
                  <a:gd name="connsiteX17" fmla="*/ 85630 w 192690"/>
                  <a:gd name="connsiteY17" fmla="*/ 27813 h 79057"/>
                  <a:gd name="connsiteX18" fmla="*/ 72771 w 192690"/>
                  <a:gd name="connsiteY18" fmla="*/ 14954 h 79057"/>
                  <a:gd name="connsiteX19" fmla="*/ 70676 w 192690"/>
                  <a:gd name="connsiteY19" fmla="*/ 0 h 79057"/>
                  <a:gd name="connsiteX20" fmla="*/ 66389 w 192690"/>
                  <a:gd name="connsiteY20" fmla="*/ 6382 h 79057"/>
                  <a:gd name="connsiteX21" fmla="*/ 34195 w 192690"/>
                  <a:gd name="connsiteY21" fmla="*/ 6382 h 79057"/>
                  <a:gd name="connsiteX22" fmla="*/ 34195 w 192690"/>
                  <a:gd name="connsiteY22" fmla="*/ 8477 h 79057"/>
                  <a:gd name="connsiteX23" fmla="*/ 27813 w 192690"/>
                  <a:gd name="connsiteY23" fmla="*/ 12763 h 79057"/>
                  <a:gd name="connsiteX24" fmla="*/ 27813 w 192690"/>
                  <a:gd name="connsiteY24" fmla="*/ 21336 h 79057"/>
                  <a:gd name="connsiteX25" fmla="*/ 36386 w 192690"/>
                  <a:gd name="connsiteY25" fmla="*/ 21336 h 79057"/>
                  <a:gd name="connsiteX26" fmla="*/ 32099 w 192690"/>
                  <a:gd name="connsiteY26" fmla="*/ 25622 h 79057"/>
                  <a:gd name="connsiteX27" fmla="*/ 27813 w 192690"/>
                  <a:gd name="connsiteY27" fmla="*/ 25622 h 79057"/>
                  <a:gd name="connsiteX28" fmla="*/ 27813 w 192690"/>
                  <a:gd name="connsiteY28" fmla="*/ 29908 h 79057"/>
                  <a:gd name="connsiteX29" fmla="*/ 29909 w 192690"/>
                  <a:gd name="connsiteY29" fmla="*/ 32004 h 79057"/>
                  <a:gd name="connsiteX30" fmla="*/ 47149 w 192690"/>
                  <a:gd name="connsiteY30" fmla="*/ 32004 h 79057"/>
                  <a:gd name="connsiteX31" fmla="*/ 42863 w 192690"/>
                  <a:gd name="connsiteY31" fmla="*/ 44863 h 79057"/>
                  <a:gd name="connsiteX32" fmla="*/ 36290 w 192690"/>
                  <a:gd name="connsiteY32" fmla="*/ 44863 h 79057"/>
                  <a:gd name="connsiteX33" fmla="*/ 21336 w 192690"/>
                  <a:gd name="connsiteY33" fmla="*/ 32004 h 79057"/>
                  <a:gd name="connsiteX34" fmla="*/ 2096 w 192690"/>
                  <a:gd name="connsiteY34" fmla="*/ 32004 h 79057"/>
                  <a:gd name="connsiteX35" fmla="*/ 0 w 192690"/>
                  <a:gd name="connsiteY35" fmla="*/ 34195 h 79057"/>
                  <a:gd name="connsiteX36" fmla="*/ 0 w 192690"/>
                  <a:gd name="connsiteY36" fmla="*/ 40577 h 79057"/>
                  <a:gd name="connsiteX37" fmla="*/ 17145 w 192690"/>
                  <a:gd name="connsiteY37" fmla="*/ 40577 h 79057"/>
                  <a:gd name="connsiteX38" fmla="*/ 47149 w 192690"/>
                  <a:gd name="connsiteY38" fmla="*/ 70580 h 79057"/>
                  <a:gd name="connsiteX39" fmla="*/ 17145 w 192690"/>
                  <a:gd name="connsiteY39" fmla="*/ 70580 h 79057"/>
                  <a:gd name="connsiteX40" fmla="*/ 14954 w 192690"/>
                  <a:gd name="connsiteY40" fmla="*/ 72676 h 79057"/>
                  <a:gd name="connsiteX41" fmla="*/ 14954 w 192690"/>
                  <a:gd name="connsiteY41" fmla="*/ 79058 h 79057"/>
                  <a:gd name="connsiteX42" fmla="*/ 64770 w 192690"/>
                  <a:gd name="connsiteY42" fmla="*/ 79058 h 79057"/>
                  <a:gd name="connsiteX43" fmla="*/ 74962 w 192690"/>
                  <a:gd name="connsiteY43" fmla="*/ 68390 h 79057"/>
                  <a:gd name="connsiteX44" fmla="*/ 109823 w 192690"/>
                  <a:gd name="connsiteY44" fmla="*/ 60198 h 79057"/>
                  <a:gd name="connsiteX45" fmla="*/ 132779 w 192690"/>
                  <a:gd name="connsiteY45" fmla="*/ 51530 h 79057"/>
                  <a:gd name="connsiteX46" fmla="*/ 132779 w 192690"/>
                  <a:gd name="connsiteY46" fmla="*/ 70485 h 79057"/>
                  <a:gd name="connsiteX47" fmla="*/ 117824 w 192690"/>
                  <a:gd name="connsiteY47" fmla="*/ 70485 h 79057"/>
                  <a:gd name="connsiteX48" fmla="*/ 115634 w 192690"/>
                  <a:gd name="connsiteY48" fmla="*/ 72581 h 79057"/>
                  <a:gd name="connsiteX49" fmla="*/ 115634 w 192690"/>
                  <a:gd name="connsiteY49" fmla="*/ 78962 h 79057"/>
                  <a:gd name="connsiteX50" fmla="*/ 139160 w 192690"/>
                  <a:gd name="connsiteY50" fmla="*/ 78962 h 79057"/>
                  <a:gd name="connsiteX51" fmla="*/ 162687 w 192690"/>
                  <a:gd name="connsiteY51" fmla="*/ 55435 h 79057"/>
                  <a:gd name="connsiteX52" fmla="*/ 179832 w 192690"/>
                  <a:gd name="connsiteY52" fmla="*/ 70390 h 79057"/>
                  <a:gd name="connsiteX53" fmla="*/ 166973 w 192690"/>
                  <a:gd name="connsiteY53" fmla="*/ 70390 h 79057"/>
                  <a:gd name="connsiteX54" fmla="*/ 164783 w 192690"/>
                  <a:gd name="connsiteY54" fmla="*/ 72485 h 79057"/>
                  <a:gd name="connsiteX55" fmla="*/ 164783 w 192690"/>
                  <a:gd name="connsiteY55" fmla="*/ 78867 h 79057"/>
                  <a:gd name="connsiteX56" fmla="*/ 190500 w 192690"/>
                  <a:gd name="connsiteY56" fmla="*/ 78867 h 79057"/>
                  <a:gd name="connsiteX57" fmla="*/ 192691 w 192690"/>
                  <a:gd name="connsiteY57" fmla="*/ 76771 h 79057"/>
                  <a:gd name="connsiteX58" fmla="*/ 192691 w 192690"/>
                  <a:gd name="connsiteY58" fmla="*/ 61817 h 79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92690" h="79057">
                    <a:moveTo>
                      <a:pt x="192596" y="62008"/>
                    </a:moveTo>
                    <a:lnTo>
                      <a:pt x="177641" y="47053"/>
                    </a:lnTo>
                    <a:lnTo>
                      <a:pt x="177641" y="27813"/>
                    </a:lnTo>
                    <a:lnTo>
                      <a:pt x="181928" y="23527"/>
                    </a:lnTo>
                    <a:lnTo>
                      <a:pt x="181928" y="8573"/>
                    </a:lnTo>
                    <a:lnTo>
                      <a:pt x="177641" y="4286"/>
                    </a:lnTo>
                    <a:lnTo>
                      <a:pt x="134874" y="4286"/>
                    </a:lnTo>
                    <a:lnTo>
                      <a:pt x="126302" y="12859"/>
                    </a:lnTo>
                    <a:lnTo>
                      <a:pt x="92012" y="12859"/>
                    </a:lnTo>
                    <a:lnTo>
                      <a:pt x="89916" y="14954"/>
                    </a:lnTo>
                    <a:lnTo>
                      <a:pt x="89916" y="19241"/>
                    </a:lnTo>
                    <a:lnTo>
                      <a:pt x="130588" y="19241"/>
                    </a:lnTo>
                    <a:lnTo>
                      <a:pt x="139160" y="10668"/>
                    </a:lnTo>
                    <a:lnTo>
                      <a:pt x="175546" y="10668"/>
                    </a:lnTo>
                    <a:lnTo>
                      <a:pt x="175546" y="19241"/>
                    </a:lnTo>
                    <a:lnTo>
                      <a:pt x="141256" y="19241"/>
                    </a:lnTo>
                    <a:lnTo>
                      <a:pt x="132683" y="27813"/>
                    </a:lnTo>
                    <a:lnTo>
                      <a:pt x="85630" y="27813"/>
                    </a:lnTo>
                    <a:lnTo>
                      <a:pt x="72771" y="14954"/>
                    </a:lnTo>
                    <a:cubicBezTo>
                      <a:pt x="72771" y="14954"/>
                      <a:pt x="74200" y="4953"/>
                      <a:pt x="70676" y="0"/>
                    </a:cubicBezTo>
                    <a:lnTo>
                      <a:pt x="66389" y="6382"/>
                    </a:lnTo>
                    <a:lnTo>
                      <a:pt x="34195" y="6382"/>
                    </a:lnTo>
                    <a:lnTo>
                      <a:pt x="34195" y="8477"/>
                    </a:lnTo>
                    <a:lnTo>
                      <a:pt x="27813" y="12763"/>
                    </a:lnTo>
                    <a:lnTo>
                      <a:pt x="27813" y="21336"/>
                    </a:lnTo>
                    <a:lnTo>
                      <a:pt x="36386" y="21336"/>
                    </a:lnTo>
                    <a:lnTo>
                      <a:pt x="32099" y="25622"/>
                    </a:lnTo>
                    <a:lnTo>
                      <a:pt x="27813" y="25622"/>
                    </a:lnTo>
                    <a:lnTo>
                      <a:pt x="27813" y="29908"/>
                    </a:lnTo>
                    <a:lnTo>
                      <a:pt x="29909" y="32004"/>
                    </a:lnTo>
                    <a:lnTo>
                      <a:pt x="47149" y="32004"/>
                    </a:lnTo>
                    <a:lnTo>
                      <a:pt x="42863" y="44863"/>
                    </a:lnTo>
                    <a:lnTo>
                      <a:pt x="36290" y="44863"/>
                    </a:lnTo>
                    <a:lnTo>
                      <a:pt x="21336" y="32004"/>
                    </a:lnTo>
                    <a:lnTo>
                      <a:pt x="2096" y="32004"/>
                    </a:lnTo>
                    <a:lnTo>
                      <a:pt x="0" y="34195"/>
                    </a:lnTo>
                    <a:lnTo>
                      <a:pt x="0" y="40577"/>
                    </a:lnTo>
                    <a:lnTo>
                      <a:pt x="17145" y="40577"/>
                    </a:lnTo>
                    <a:lnTo>
                      <a:pt x="47149" y="70580"/>
                    </a:lnTo>
                    <a:lnTo>
                      <a:pt x="17145" y="70580"/>
                    </a:lnTo>
                    <a:lnTo>
                      <a:pt x="14954" y="72676"/>
                    </a:lnTo>
                    <a:lnTo>
                      <a:pt x="14954" y="79058"/>
                    </a:lnTo>
                    <a:lnTo>
                      <a:pt x="64770" y="79058"/>
                    </a:lnTo>
                    <a:lnTo>
                      <a:pt x="74962" y="68390"/>
                    </a:lnTo>
                    <a:cubicBezTo>
                      <a:pt x="74962" y="68390"/>
                      <a:pt x="92964" y="70485"/>
                      <a:pt x="109823" y="60198"/>
                    </a:cubicBezTo>
                    <a:cubicBezTo>
                      <a:pt x="121253" y="53150"/>
                      <a:pt x="132779" y="51530"/>
                      <a:pt x="132779" y="51530"/>
                    </a:cubicBezTo>
                    <a:lnTo>
                      <a:pt x="132779" y="70485"/>
                    </a:lnTo>
                    <a:lnTo>
                      <a:pt x="117824" y="70485"/>
                    </a:lnTo>
                    <a:lnTo>
                      <a:pt x="115634" y="72581"/>
                    </a:lnTo>
                    <a:lnTo>
                      <a:pt x="115634" y="78962"/>
                    </a:lnTo>
                    <a:lnTo>
                      <a:pt x="139160" y="78962"/>
                    </a:lnTo>
                    <a:lnTo>
                      <a:pt x="162687" y="55435"/>
                    </a:lnTo>
                    <a:lnTo>
                      <a:pt x="179832" y="70390"/>
                    </a:lnTo>
                    <a:lnTo>
                      <a:pt x="166973" y="70390"/>
                    </a:lnTo>
                    <a:lnTo>
                      <a:pt x="164783" y="72485"/>
                    </a:lnTo>
                    <a:lnTo>
                      <a:pt x="164783" y="78867"/>
                    </a:lnTo>
                    <a:lnTo>
                      <a:pt x="190500" y="78867"/>
                    </a:lnTo>
                    <a:lnTo>
                      <a:pt x="192691" y="76771"/>
                    </a:lnTo>
                    <a:lnTo>
                      <a:pt x="192691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4" name="Freihandform: Form 133">
                <a:extLst>
                  <a:ext uri="{FF2B5EF4-FFF2-40B4-BE49-F238E27FC236}">
                    <a16:creationId xmlns:a16="http://schemas.microsoft.com/office/drawing/2014/main" id="{4642F806-B1D6-4445-B59E-CD45EBCE0B53}"/>
                  </a:ext>
                </a:extLst>
              </p:cNvPr>
              <p:cNvSpPr/>
              <p:nvPr/>
            </p:nvSpPr>
            <p:spPr>
              <a:xfrm>
                <a:off x="8765056" y="5246530"/>
                <a:ext cx="22955" cy="403002"/>
              </a:xfrm>
              <a:custGeom>
                <a:avLst/>
                <a:gdLst>
                  <a:gd name="connsiteX0" fmla="*/ 22955 w 22955"/>
                  <a:gd name="connsiteY0" fmla="*/ 22860 h 403002"/>
                  <a:gd name="connsiteX1" fmla="*/ 22955 w 22955"/>
                  <a:gd name="connsiteY1" fmla="*/ 380048 h 403002"/>
                  <a:gd name="connsiteX2" fmla="*/ 0 w 22955"/>
                  <a:gd name="connsiteY2" fmla="*/ 403003 h 403002"/>
                  <a:gd name="connsiteX3" fmla="*/ 0 w 22955"/>
                  <a:gd name="connsiteY3" fmla="*/ 0 h 403002"/>
                  <a:gd name="connsiteX4" fmla="*/ 22955 w 22955"/>
                  <a:gd name="connsiteY4" fmla="*/ 22860 h 40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55" h="403002">
                    <a:moveTo>
                      <a:pt x="22955" y="22860"/>
                    </a:moveTo>
                    <a:lnTo>
                      <a:pt x="22955" y="380048"/>
                    </a:lnTo>
                    <a:lnTo>
                      <a:pt x="0" y="403003"/>
                    </a:lnTo>
                    <a:lnTo>
                      <a:pt x="0" y="0"/>
                    </a:lnTo>
                    <a:lnTo>
                      <a:pt x="22955" y="22860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5" name="Freihandform: Form 134">
                <a:extLst>
                  <a:ext uri="{FF2B5EF4-FFF2-40B4-BE49-F238E27FC236}">
                    <a16:creationId xmlns:a16="http://schemas.microsoft.com/office/drawing/2014/main" id="{2779A89D-79EE-4A93-8EC2-2F564FE1B977}"/>
                  </a:ext>
                </a:extLst>
              </p:cNvPr>
              <p:cNvSpPr/>
              <p:nvPr/>
            </p:nvSpPr>
            <p:spPr>
              <a:xfrm>
                <a:off x="8876499" y="5290249"/>
                <a:ext cx="57054" cy="79724"/>
              </a:xfrm>
              <a:custGeom>
                <a:avLst/>
                <a:gdLst>
                  <a:gd name="connsiteX0" fmla="*/ 43053 w 57054"/>
                  <a:gd name="connsiteY0" fmla="*/ 79724 h 79724"/>
                  <a:gd name="connsiteX1" fmla="*/ 43053 w 57054"/>
                  <a:gd name="connsiteY1" fmla="*/ 46768 h 79724"/>
                  <a:gd name="connsiteX2" fmla="*/ 14002 w 57054"/>
                  <a:gd name="connsiteY2" fmla="*/ 46768 h 79724"/>
                  <a:gd name="connsiteX3" fmla="*/ 14002 w 57054"/>
                  <a:gd name="connsiteY3" fmla="*/ 79724 h 79724"/>
                  <a:gd name="connsiteX4" fmla="*/ 0 w 57054"/>
                  <a:gd name="connsiteY4" fmla="*/ 79724 h 79724"/>
                  <a:gd name="connsiteX5" fmla="*/ 0 w 57054"/>
                  <a:gd name="connsiteY5" fmla="*/ 0 h 79724"/>
                  <a:gd name="connsiteX6" fmla="*/ 14002 w 57054"/>
                  <a:gd name="connsiteY6" fmla="*/ 0 h 79724"/>
                  <a:gd name="connsiteX7" fmla="*/ 14002 w 57054"/>
                  <a:gd name="connsiteY7" fmla="*/ 33433 h 79724"/>
                  <a:gd name="connsiteX8" fmla="*/ 43053 w 57054"/>
                  <a:gd name="connsiteY8" fmla="*/ 33433 h 79724"/>
                  <a:gd name="connsiteX9" fmla="*/ 43053 w 57054"/>
                  <a:gd name="connsiteY9" fmla="*/ 0 h 79724"/>
                  <a:gd name="connsiteX10" fmla="*/ 57055 w 57054"/>
                  <a:gd name="connsiteY10" fmla="*/ 0 h 79724"/>
                  <a:gd name="connsiteX11" fmla="*/ 57055 w 57054"/>
                  <a:gd name="connsiteY11" fmla="*/ 79724 h 79724"/>
                  <a:gd name="connsiteX12" fmla="*/ 43053 w 57054"/>
                  <a:gd name="connsiteY12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054" h="79724">
                    <a:moveTo>
                      <a:pt x="43053" y="79724"/>
                    </a:moveTo>
                    <a:lnTo>
                      <a:pt x="43053" y="46768"/>
                    </a:lnTo>
                    <a:lnTo>
                      <a:pt x="14002" y="46768"/>
                    </a:lnTo>
                    <a:lnTo>
                      <a:pt x="14002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4002" y="0"/>
                    </a:lnTo>
                    <a:lnTo>
                      <a:pt x="14002" y="33433"/>
                    </a:lnTo>
                    <a:lnTo>
                      <a:pt x="43053" y="33433"/>
                    </a:lnTo>
                    <a:lnTo>
                      <a:pt x="43053" y="0"/>
                    </a:lnTo>
                    <a:lnTo>
                      <a:pt x="57055" y="0"/>
                    </a:lnTo>
                    <a:lnTo>
                      <a:pt x="57055" y="79724"/>
                    </a:lnTo>
                    <a:lnTo>
                      <a:pt x="43053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6" name="Freihandform: Form 135">
                <a:extLst>
                  <a:ext uri="{FF2B5EF4-FFF2-40B4-BE49-F238E27FC236}">
                    <a16:creationId xmlns:a16="http://schemas.microsoft.com/office/drawing/2014/main" id="{B2AA8EC4-7658-4011-A8E1-EE9FFAC28524}"/>
                  </a:ext>
                </a:extLst>
              </p:cNvPr>
              <p:cNvSpPr/>
              <p:nvPr/>
            </p:nvSpPr>
            <p:spPr>
              <a:xfrm>
                <a:off x="8953080" y="5311776"/>
                <a:ext cx="49339" cy="58864"/>
              </a:xfrm>
              <a:custGeom>
                <a:avLst/>
                <a:gdLst>
                  <a:gd name="connsiteX0" fmla="*/ 47053 w 49339"/>
                  <a:gd name="connsiteY0" fmla="*/ 49530 h 58864"/>
                  <a:gd name="connsiteX1" fmla="*/ 40672 w 49339"/>
                  <a:gd name="connsiteY1" fmla="*/ 56102 h 58864"/>
                  <a:gd name="connsiteX2" fmla="*/ 30956 w 49339"/>
                  <a:gd name="connsiteY2" fmla="*/ 58865 h 58864"/>
                  <a:gd name="connsiteX3" fmla="*/ 18478 w 49339"/>
                  <a:gd name="connsiteY3" fmla="*/ 58865 h 58864"/>
                  <a:gd name="connsiteX4" fmla="*/ 8858 w 49339"/>
                  <a:gd name="connsiteY4" fmla="*/ 56102 h 58864"/>
                  <a:gd name="connsiteX5" fmla="*/ 2286 w 49339"/>
                  <a:gd name="connsiteY5" fmla="*/ 49530 h 58864"/>
                  <a:gd name="connsiteX6" fmla="*/ 0 w 49339"/>
                  <a:gd name="connsiteY6" fmla="*/ 41434 h 58864"/>
                  <a:gd name="connsiteX7" fmla="*/ 0 w 49339"/>
                  <a:gd name="connsiteY7" fmla="*/ 17431 h 58864"/>
                  <a:gd name="connsiteX8" fmla="*/ 2286 w 49339"/>
                  <a:gd name="connsiteY8" fmla="*/ 9335 h 58864"/>
                  <a:gd name="connsiteX9" fmla="*/ 8858 w 49339"/>
                  <a:gd name="connsiteY9" fmla="*/ 2953 h 58864"/>
                  <a:gd name="connsiteX10" fmla="*/ 18478 w 49339"/>
                  <a:gd name="connsiteY10" fmla="*/ 0 h 58864"/>
                  <a:gd name="connsiteX11" fmla="*/ 30956 w 49339"/>
                  <a:gd name="connsiteY11" fmla="*/ 0 h 58864"/>
                  <a:gd name="connsiteX12" fmla="*/ 40672 w 49339"/>
                  <a:gd name="connsiteY12" fmla="*/ 2953 h 58864"/>
                  <a:gd name="connsiteX13" fmla="*/ 47053 w 49339"/>
                  <a:gd name="connsiteY13" fmla="*/ 9335 h 58864"/>
                  <a:gd name="connsiteX14" fmla="*/ 49340 w 49339"/>
                  <a:gd name="connsiteY14" fmla="*/ 17431 h 58864"/>
                  <a:gd name="connsiteX15" fmla="*/ 49340 w 49339"/>
                  <a:gd name="connsiteY15" fmla="*/ 41434 h 58864"/>
                  <a:gd name="connsiteX16" fmla="*/ 47053 w 49339"/>
                  <a:gd name="connsiteY16" fmla="*/ 49530 h 58864"/>
                  <a:gd name="connsiteX17" fmla="*/ 13335 w 49339"/>
                  <a:gd name="connsiteY17" fmla="*/ 42101 h 58864"/>
                  <a:gd name="connsiteX18" fmla="*/ 17717 w 49339"/>
                  <a:gd name="connsiteY18" fmla="*/ 46101 h 58864"/>
                  <a:gd name="connsiteX19" fmla="*/ 18478 w 49339"/>
                  <a:gd name="connsiteY19" fmla="*/ 46196 h 58864"/>
                  <a:gd name="connsiteX20" fmla="*/ 30766 w 49339"/>
                  <a:gd name="connsiteY20" fmla="*/ 46196 h 58864"/>
                  <a:gd name="connsiteX21" fmla="*/ 31528 w 49339"/>
                  <a:gd name="connsiteY21" fmla="*/ 45911 h 58864"/>
                  <a:gd name="connsiteX22" fmla="*/ 35909 w 49339"/>
                  <a:gd name="connsiteY22" fmla="*/ 42005 h 58864"/>
                  <a:gd name="connsiteX23" fmla="*/ 35909 w 49339"/>
                  <a:gd name="connsiteY23" fmla="*/ 17717 h 58864"/>
                  <a:gd name="connsiteX24" fmla="*/ 35814 w 49339"/>
                  <a:gd name="connsiteY24" fmla="*/ 16955 h 58864"/>
                  <a:gd name="connsiteX25" fmla="*/ 31432 w 49339"/>
                  <a:gd name="connsiteY25" fmla="*/ 12668 h 58864"/>
                  <a:gd name="connsiteX26" fmla="*/ 30766 w 49339"/>
                  <a:gd name="connsiteY26" fmla="*/ 12573 h 58864"/>
                  <a:gd name="connsiteX27" fmla="*/ 18478 w 49339"/>
                  <a:gd name="connsiteY27" fmla="*/ 12573 h 58864"/>
                  <a:gd name="connsiteX28" fmla="*/ 17812 w 49339"/>
                  <a:gd name="connsiteY28" fmla="*/ 12668 h 58864"/>
                  <a:gd name="connsiteX29" fmla="*/ 13430 w 49339"/>
                  <a:gd name="connsiteY29" fmla="*/ 16955 h 58864"/>
                  <a:gd name="connsiteX30" fmla="*/ 13335 w 49339"/>
                  <a:gd name="connsiteY30" fmla="*/ 17717 h 58864"/>
                  <a:gd name="connsiteX31" fmla="*/ 13335 w 49339"/>
                  <a:gd name="connsiteY31" fmla="*/ 4200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9339" h="58864">
                    <a:moveTo>
                      <a:pt x="47053" y="49530"/>
                    </a:moveTo>
                    <a:cubicBezTo>
                      <a:pt x="46006" y="51149"/>
                      <a:pt x="42672" y="54578"/>
                      <a:pt x="40672" y="56102"/>
                    </a:cubicBezTo>
                    <a:cubicBezTo>
                      <a:pt x="38005" y="58007"/>
                      <a:pt x="34290" y="58865"/>
                      <a:pt x="30956" y="58865"/>
                    </a:cubicBezTo>
                    <a:lnTo>
                      <a:pt x="18478" y="58865"/>
                    </a:lnTo>
                    <a:cubicBezTo>
                      <a:pt x="15145" y="58865"/>
                      <a:pt x="11525" y="57912"/>
                      <a:pt x="8858" y="56102"/>
                    </a:cubicBezTo>
                    <a:cubicBezTo>
                      <a:pt x="6858" y="54674"/>
                      <a:pt x="3429" y="51149"/>
                      <a:pt x="2286" y="49530"/>
                    </a:cubicBezTo>
                    <a:cubicBezTo>
                      <a:pt x="476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381" y="11811"/>
                      <a:pt x="2286" y="9335"/>
                    </a:cubicBezTo>
                    <a:cubicBezTo>
                      <a:pt x="3334" y="7715"/>
                      <a:pt x="6858" y="4382"/>
                      <a:pt x="8858" y="2953"/>
                    </a:cubicBezTo>
                    <a:cubicBezTo>
                      <a:pt x="11525" y="1048"/>
                      <a:pt x="15145" y="0"/>
                      <a:pt x="18478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3" y="9335"/>
                    </a:cubicBezTo>
                    <a:cubicBezTo>
                      <a:pt x="48958" y="11906"/>
                      <a:pt x="49340" y="14764"/>
                      <a:pt x="49340" y="17431"/>
                    </a:cubicBezTo>
                    <a:lnTo>
                      <a:pt x="49340" y="41434"/>
                    </a:lnTo>
                    <a:cubicBezTo>
                      <a:pt x="49340" y="44101"/>
                      <a:pt x="48958" y="47054"/>
                      <a:pt x="47053" y="49530"/>
                    </a:cubicBezTo>
                    <a:moveTo>
                      <a:pt x="13335" y="42101"/>
                    </a:moveTo>
                    <a:cubicBezTo>
                      <a:pt x="13335" y="43148"/>
                      <a:pt x="16097" y="45149"/>
                      <a:pt x="17717" y="46101"/>
                    </a:cubicBezTo>
                    <a:cubicBezTo>
                      <a:pt x="17717" y="46101"/>
                      <a:pt x="18002" y="46196"/>
                      <a:pt x="18478" y="46196"/>
                    </a:cubicBezTo>
                    <a:lnTo>
                      <a:pt x="30766" y="46196"/>
                    </a:lnTo>
                    <a:cubicBezTo>
                      <a:pt x="30766" y="46196"/>
                      <a:pt x="31337" y="46101"/>
                      <a:pt x="31528" y="45911"/>
                    </a:cubicBezTo>
                    <a:cubicBezTo>
                      <a:pt x="32766" y="45244"/>
                      <a:pt x="35814" y="43148"/>
                      <a:pt x="35909" y="42005"/>
                    </a:cubicBezTo>
                    <a:lnTo>
                      <a:pt x="35909" y="17717"/>
                    </a:lnTo>
                    <a:cubicBezTo>
                      <a:pt x="35909" y="17717"/>
                      <a:pt x="35909" y="17336"/>
                      <a:pt x="35814" y="16955"/>
                    </a:cubicBezTo>
                    <a:cubicBezTo>
                      <a:pt x="35052" y="15621"/>
                      <a:pt x="33052" y="13621"/>
                      <a:pt x="31432" y="12668"/>
                    </a:cubicBezTo>
                    <a:cubicBezTo>
                      <a:pt x="31147" y="12573"/>
                      <a:pt x="31052" y="12573"/>
                      <a:pt x="30766" y="12573"/>
                    </a:cubicBezTo>
                    <a:lnTo>
                      <a:pt x="18478" y="12573"/>
                    </a:lnTo>
                    <a:cubicBezTo>
                      <a:pt x="18478" y="12573"/>
                      <a:pt x="18098" y="12573"/>
                      <a:pt x="17812" y="12668"/>
                    </a:cubicBezTo>
                    <a:cubicBezTo>
                      <a:pt x="16193" y="13621"/>
                      <a:pt x="14383" y="15335"/>
                      <a:pt x="13430" y="16955"/>
                    </a:cubicBezTo>
                    <a:cubicBezTo>
                      <a:pt x="13335" y="17240"/>
                      <a:pt x="13335" y="17717"/>
                      <a:pt x="13335" y="17717"/>
                    </a:cubicBezTo>
                    <a:lnTo>
                      <a:pt x="13335" y="42005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7" name="Freihandform: Form 136">
                <a:extLst>
                  <a:ext uri="{FF2B5EF4-FFF2-40B4-BE49-F238E27FC236}">
                    <a16:creationId xmlns:a16="http://schemas.microsoft.com/office/drawing/2014/main" id="{3EAF4717-06AD-4757-8161-895FE09F2BD9}"/>
                  </a:ext>
                </a:extLst>
              </p:cNvPr>
              <p:cNvSpPr/>
              <p:nvPr/>
            </p:nvSpPr>
            <p:spPr>
              <a:xfrm>
                <a:off x="9022136" y="5311681"/>
                <a:ext cx="49434" cy="58864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8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8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576 w 49434"/>
                  <a:gd name="connsiteY21" fmla="*/ 16954 h 58864"/>
                  <a:gd name="connsiteX22" fmla="*/ 36195 w 49434"/>
                  <a:gd name="connsiteY22" fmla="*/ 16383 h 58864"/>
                  <a:gd name="connsiteX23" fmla="*/ 31242 w 49434"/>
                  <a:gd name="connsiteY23" fmla="*/ 12668 h 58864"/>
                  <a:gd name="connsiteX24" fmla="*/ 18764 w 49434"/>
                  <a:gd name="connsiteY24" fmla="*/ 12668 h 58864"/>
                  <a:gd name="connsiteX25" fmla="*/ 18002 w 49434"/>
                  <a:gd name="connsiteY25" fmla="*/ 12764 h 58864"/>
                  <a:gd name="connsiteX26" fmla="*/ 13621 w 49434"/>
                  <a:gd name="connsiteY26" fmla="*/ 16764 h 58864"/>
                  <a:gd name="connsiteX27" fmla="*/ 13526 w 49434"/>
                  <a:gd name="connsiteY27" fmla="*/ 17716 h 58864"/>
                  <a:gd name="connsiteX28" fmla="*/ 13526 w 49434"/>
                  <a:gd name="connsiteY28" fmla="*/ 41339 h 58864"/>
                  <a:gd name="connsiteX29" fmla="*/ 13526 w 49434"/>
                  <a:gd name="connsiteY29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8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0" y="58865"/>
                      <a:pt x="31242" y="58865"/>
                    </a:cubicBezTo>
                    <a:lnTo>
                      <a:pt x="18478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2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2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8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576" y="16954"/>
                    </a:lnTo>
                    <a:cubicBezTo>
                      <a:pt x="36576" y="16954"/>
                      <a:pt x="36481" y="16669"/>
                      <a:pt x="36195" y="16383"/>
                    </a:cubicBezTo>
                    <a:cubicBezTo>
                      <a:pt x="35433" y="15430"/>
                      <a:pt x="32576" y="12668"/>
                      <a:pt x="31242" y="12668"/>
                    </a:cubicBezTo>
                    <a:lnTo>
                      <a:pt x="18764" y="12668"/>
                    </a:lnTo>
                    <a:cubicBezTo>
                      <a:pt x="18764" y="12668"/>
                      <a:pt x="18193" y="12668"/>
                      <a:pt x="18002" y="12764"/>
                    </a:cubicBezTo>
                    <a:cubicBezTo>
                      <a:pt x="16383" y="13716"/>
                      <a:pt x="14573" y="15145"/>
                      <a:pt x="13621" y="16764"/>
                    </a:cubicBezTo>
                    <a:cubicBezTo>
                      <a:pt x="13526" y="17050"/>
                      <a:pt x="13526" y="17716"/>
                      <a:pt x="13526" y="17716"/>
                    </a:cubicBezTo>
                    <a:lnTo>
                      <a:pt x="13526" y="41339"/>
                    </a:lnTo>
                    <a:lnTo>
                      <a:pt x="13526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8" name="Freihandform: Form 137">
                <a:extLst>
                  <a:ext uri="{FF2B5EF4-FFF2-40B4-BE49-F238E27FC236}">
                    <a16:creationId xmlns:a16="http://schemas.microsoft.com/office/drawing/2014/main" id="{1AE6F456-2302-40BC-82B5-91D45C5BBF5A}"/>
                  </a:ext>
                </a:extLst>
              </p:cNvPr>
              <p:cNvSpPr/>
              <p:nvPr/>
            </p:nvSpPr>
            <p:spPr>
              <a:xfrm>
                <a:off x="9085763" y="5290249"/>
                <a:ext cx="49149" cy="79724"/>
              </a:xfrm>
              <a:custGeom>
                <a:avLst/>
                <a:gdLst>
                  <a:gd name="connsiteX0" fmla="*/ 35719 w 49149"/>
                  <a:gd name="connsiteY0" fmla="*/ 39338 h 79724"/>
                  <a:gd name="connsiteX1" fmla="*/ 35623 w 49149"/>
                  <a:gd name="connsiteY1" fmla="*/ 38671 h 79724"/>
                  <a:gd name="connsiteX2" fmla="*/ 31337 w 49149"/>
                  <a:gd name="connsiteY2" fmla="*/ 34290 h 79724"/>
                  <a:gd name="connsiteX3" fmla="*/ 30575 w 49149"/>
                  <a:gd name="connsiteY3" fmla="*/ 34195 h 79724"/>
                  <a:gd name="connsiteX4" fmla="*/ 21431 w 49149"/>
                  <a:gd name="connsiteY4" fmla="*/ 34195 h 79724"/>
                  <a:gd name="connsiteX5" fmla="*/ 13335 w 49149"/>
                  <a:gd name="connsiteY5" fmla="*/ 40196 h 79724"/>
                  <a:gd name="connsiteX6" fmla="*/ 13335 w 49149"/>
                  <a:gd name="connsiteY6" fmla="*/ 79724 h 79724"/>
                  <a:gd name="connsiteX7" fmla="*/ 0 w 49149"/>
                  <a:gd name="connsiteY7" fmla="*/ 79724 h 79724"/>
                  <a:gd name="connsiteX8" fmla="*/ 0 w 49149"/>
                  <a:gd name="connsiteY8" fmla="*/ 0 h 79724"/>
                  <a:gd name="connsiteX9" fmla="*/ 13335 w 49149"/>
                  <a:gd name="connsiteY9" fmla="*/ 0 h 79724"/>
                  <a:gd name="connsiteX10" fmla="*/ 13335 w 49149"/>
                  <a:gd name="connsiteY10" fmla="*/ 24670 h 79724"/>
                  <a:gd name="connsiteX11" fmla="*/ 21146 w 49149"/>
                  <a:gd name="connsiteY11" fmla="*/ 21431 h 79724"/>
                  <a:gd name="connsiteX12" fmla="*/ 30766 w 49149"/>
                  <a:gd name="connsiteY12" fmla="*/ 21431 h 79724"/>
                  <a:gd name="connsiteX13" fmla="*/ 40386 w 49149"/>
                  <a:gd name="connsiteY13" fmla="*/ 24384 h 79724"/>
                  <a:gd name="connsiteX14" fmla="*/ 46768 w 49149"/>
                  <a:gd name="connsiteY14" fmla="*/ 30861 h 79724"/>
                  <a:gd name="connsiteX15" fmla="*/ 49149 w 49149"/>
                  <a:gd name="connsiteY15" fmla="*/ 38957 h 79724"/>
                  <a:gd name="connsiteX16" fmla="*/ 49149 w 49149"/>
                  <a:gd name="connsiteY16" fmla="*/ 79629 h 79724"/>
                  <a:gd name="connsiteX17" fmla="*/ 35814 w 49149"/>
                  <a:gd name="connsiteY17" fmla="*/ 79629 h 79724"/>
                  <a:gd name="connsiteX18" fmla="*/ 35814 w 49149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149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146" y="21431"/>
                    </a:cubicBezTo>
                    <a:lnTo>
                      <a:pt x="30766" y="21431"/>
                    </a:lnTo>
                    <a:cubicBezTo>
                      <a:pt x="34004" y="21431"/>
                      <a:pt x="37814" y="22479"/>
                      <a:pt x="40386" y="24384"/>
                    </a:cubicBezTo>
                    <a:cubicBezTo>
                      <a:pt x="42481" y="25813"/>
                      <a:pt x="45720" y="29432"/>
                      <a:pt x="46768" y="30861"/>
                    </a:cubicBezTo>
                    <a:cubicBezTo>
                      <a:pt x="48482" y="33433"/>
                      <a:pt x="49149" y="36100"/>
                      <a:pt x="49149" y="38957"/>
                    </a:cubicBezTo>
                    <a:lnTo>
                      <a:pt x="49149" y="79629"/>
                    </a:lnTo>
                    <a:lnTo>
                      <a:pt x="35814" y="79629"/>
                    </a:lnTo>
                    <a:lnTo>
                      <a:pt x="35814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39" name="Freihandform: Form 138">
                <a:extLst>
                  <a:ext uri="{FF2B5EF4-FFF2-40B4-BE49-F238E27FC236}">
                    <a16:creationId xmlns:a16="http://schemas.microsoft.com/office/drawing/2014/main" id="{7811170D-20D0-432B-BB20-2B73F79DD029}"/>
                  </a:ext>
                </a:extLst>
              </p:cNvPr>
              <p:cNvSpPr/>
              <p:nvPr/>
            </p:nvSpPr>
            <p:spPr>
              <a:xfrm>
                <a:off x="9151295" y="5311681"/>
                <a:ext cx="50577" cy="58673"/>
              </a:xfrm>
              <a:custGeom>
                <a:avLst/>
                <a:gdLst>
                  <a:gd name="connsiteX0" fmla="*/ 17621 w 50577"/>
                  <a:gd name="connsiteY0" fmla="*/ 46291 h 58673"/>
                  <a:gd name="connsiteX1" fmla="*/ 32290 w 50577"/>
                  <a:gd name="connsiteY1" fmla="*/ 46291 h 58673"/>
                  <a:gd name="connsiteX2" fmla="*/ 37052 w 50577"/>
                  <a:gd name="connsiteY2" fmla="*/ 41529 h 58673"/>
                  <a:gd name="connsiteX3" fmla="*/ 37052 w 50577"/>
                  <a:gd name="connsiteY3" fmla="*/ 38290 h 58673"/>
                  <a:gd name="connsiteX4" fmla="*/ 35338 w 50577"/>
                  <a:gd name="connsiteY4" fmla="*/ 36385 h 58673"/>
                  <a:gd name="connsiteX5" fmla="*/ 13526 w 50577"/>
                  <a:gd name="connsiteY5" fmla="*/ 34671 h 58673"/>
                  <a:gd name="connsiteX6" fmla="*/ 1048 w 50577"/>
                  <a:gd name="connsiteY6" fmla="*/ 21050 h 58673"/>
                  <a:gd name="connsiteX7" fmla="*/ 1048 w 50577"/>
                  <a:gd name="connsiteY7" fmla="*/ 17050 h 58673"/>
                  <a:gd name="connsiteX8" fmla="*/ 3429 w 50577"/>
                  <a:gd name="connsiteY8" fmla="*/ 8954 h 58673"/>
                  <a:gd name="connsiteX9" fmla="*/ 18860 w 50577"/>
                  <a:gd name="connsiteY9" fmla="*/ 0 h 58673"/>
                  <a:gd name="connsiteX10" fmla="*/ 31623 w 50577"/>
                  <a:gd name="connsiteY10" fmla="*/ 0 h 58673"/>
                  <a:gd name="connsiteX11" fmla="*/ 41243 w 50577"/>
                  <a:gd name="connsiteY11" fmla="*/ 3048 h 58673"/>
                  <a:gd name="connsiteX12" fmla="*/ 49911 w 50577"/>
                  <a:gd name="connsiteY12" fmla="*/ 12859 h 58673"/>
                  <a:gd name="connsiteX13" fmla="*/ 37338 w 50577"/>
                  <a:gd name="connsiteY13" fmla="*/ 16573 h 58673"/>
                  <a:gd name="connsiteX14" fmla="*/ 36957 w 50577"/>
                  <a:gd name="connsiteY14" fmla="*/ 16002 h 58673"/>
                  <a:gd name="connsiteX15" fmla="*/ 32004 w 50577"/>
                  <a:gd name="connsiteY15" fmla="*/ 12573 h 58673"/>
                  <a:gd name="connsiteX16" fmla="*/ 19241 w 50577"/>
                  <a:gd name="connsiteY16" fmla="*/ 12573 h 58673"/>
                  <a:gd name="connsiteX17" fmla="*/ 17526 w 50577"/>
                  <a:gd name="connsiteY17" fmla="*/ 12859 h 58673"/>
                  <a:gd name="connsiteX18" fmla="*/ 14478 w 50577"/>
                  <a:gd name="connsiteY18" fmla="*/ 15907 h 58673"/>
                  <a:gd name="connsiteX19" fmla="*/ 14383 w 50577"/>
                  <a:gd name="connsiteY19" fmla="*/ 17240 h 58673"/>
                  <a:gd name="connsiteX20" fmla="*/ 14383 w 50577"/>
                  <a:gd name="connsiteY20" fmla="*/ 20383 h 58673"/>
                  <a:gd name="connsiteX21" fmla="*/ 16383 w 50577"/>
                  <a:gd name="connsiteY21" fmla="*/ 22098 h 58673"/>
                  <a:gd name="connsiteX22" fmla="*/ 37338 w 50577"/>
                  <a:gd name="connsiteY22" fmla="*/ 24098 h 58673"/>
                  <a:gd name="connsiteX23" fmla="*/ 50578 w 50577"/>
                  <a:gd name="connsiteY23" fmla="*/ 37814 h 58673"/>
                  <a:gd name="connsiteX24" fmla="*/ 50578 w 50577"/>
                  <a:gd name="connsiteY24" fmla="*/ 41529 h 58673"/>
                  <a:gd name="connsiteX25" fmla="*/ 48006 w 50577"/>
                  <a:gd name="connsiteY25" fmla="*/ 49625 h 58673"/>
                  <a:gd name="connsiteX26" fmla="*/ 42005 w 50577"/>
                  <a:gd name="connsiteY26" fmla="*/ 55721 h 58673"/>
                  <a:gd name="connsiteX27" fmla="*/ 32576 w 50577"/>
                  <a:gd name="connsiteY27" fmla="*/ 58674 h 58673"/>
                  <a:gd name="connsiteX28" fmla="*/ 18193 w 50577"/>
                  <a:gd name="connsiteY28" fmla="*/ 58674 h 58673"/>
                  <a:gd name="connsiteX29" fmla="*/ 8573 w 50577"/>
                  <a:gd name="connsiteY29" fmla="*/ 55435 h 58673"/>
                  <a:gd name="connsiteX30" fmla="*/ 0 w 50577"/>
                  <a:gd name="connsiteY30" fmla="*/ 45625 h 58673"/>
                  <a:gd name="connsiteX31" fmla="*/ 12383 w 50577"/>
                  <a:gd name="connsiteY31" fmla="*/ 41910 h 58673"/>
                  <a:gd name="connsiteX32" fmla="*/ 12764 w 50577"/>
                  <a:gd name="connsiteY32" fmla="*/ 42482 h 58673"/>
                  <a:gd name="connsiteX33" fmla="*/ 17717 w 50577"/>
                  <a:gd name="connsiteY33" fmla="*/ 46101 h 58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50577" h="58673">
                    <a:moveTo>
                      <a:pt x="17621" y="46291"/>
                    </a:moveTo>
                    <a:lnTo>
                      <a:pt x="32290" y="46291"/>
                    </a:lnTo>
                    <a:cubicBezTo>
                      <a:pt x="33909" y="46291"/>
                      <a:pt x="37052" y="43339"/>
                      <a:pt x="37052" y="41529"/>
                    </a:cubicBezTo>
                    <a:lnTo>
                      <a:pt x="37052" y="38290"/>
                    </a:lnTo>
                    <a:cubicBezTo>
                      <a:pt x="37052" y="37624"/>
                      <a:pt x="36767" y="36576"/>
                      <a:pt x="35338" y="36385"/>
                    </a:cubicBezTo>
                    <a:cubicBezTo>
                      <a:pt x="30671" y="36004"/>
                      <a:pt x="21050" y="35338"/>
                      <a:pt x="13526" y="34671"/>
                    </a:cubicBezTo>
                    <a:cubicBezTo>
                      <a:pt x="6477" y="34100"/>
                      <a:pt x="1048" y="29623"/>
                      <a:pt x="1048" y="21050"/>
                    </a:cubicBezTo>
                    <a:lnTo>
                      <a:pt x="1048" y="17050"/>
                    </a:lnTo>
                    <a:cubicBezTo>
                      <a:pt x="1048" y="14097"/>
                      <a:pt x="1715" y="11335"/>
                      <a:pt x="3429" y="8954"/>
                    </a:cubicBezTo>
                    <a:cubicBezTo>
                      <a:pt x="7144" y="3619"/>
                      <a:pt x="12192" y="0"/>
                      <a:pt x="18860" y="0"/>
                    </a:cubicBezTo>
                    <a:lnTo>
                      <a:pt x="31623" y="0"/>
                    </a:lnTo>
                    <a:cubicBezTo>
                      <a:pt x="34766" y="0"/>
                      <a:pt x="38672" y="1333"/>
                      <a:pt x="41243" y="3048"/>
                    </a:cubicBezTo>
                    <a:cubicBezTo>
                      <a:pt x="43339" y="4477"/>
                      <a:pt x="48578" y="9716"/>
                      <a:pt x="49911" y="12859"/>
                    </a:cubicBezTo>
                    <a:lnTo>
                      <a:pt x="37338" y="16573"/>
                    </a:lnTo>
                    <a:cubicBezTo>
                      <a:pt x="37338" y="16573"/>
                      <a:pt x="37243" y="16288"/>
                      <a:pt x="36957" y="16002"/>
                    </a:cubicBezTo>
                    <a:cubicBezTo>
                      <a:pt x="36195" y="15049"/>
                      <a:pt x="33338" y="12573"/>
                      <a:pt x="32004" y="12573"/>
                    </a:cubicBezTo>
                    <a:lnTo>
                      <a:pt x="19241" y="12573"/>
                    </a:lnTo>
                    <a:cubicBezTo>
                      <a:pt x="19241" y="12573"/>
                      <a:pt x="18002" y="12573"/>
                      <a:pt x="17526" y="12859"/>
                    </a:cubicBezTo>
                    <a:cubicBezTo>
                      <a:pt x="16955" y="13145"/>
                      <a:pt x="15240" y="14478"/>
                      <a:pt x="14478" y="15907"/>
                    </a:cubicBezTo>
                    <a:cubicBezTo>
                      <a:pt x="14478" y="15907"/>
                      <a:pt x="14383" y="16192"/>
                      <a:pt x="14383" y="17240"/>
                    </a:cubicBezTo>
                    <a:lnTo>
                      <a:pt x="14383" y="20383"/>
                    </a:lnTo>
                    <a:cubicBezTo>
                      <a:pt x="14383" y="20383"/>
                      <a:pt x="15050" y="22003"/>
                      <a:pt x="16383" y="22098"/>
                    </a:cubicBezTo>
                    <a:cubicBezTo>
                      <a:pt x="19812" y="22479"/>
                      <a:pt x="30004" y="23336"/>
                      <a:pt x="37338" y="24098"/>
                    </a:cubicBezTo>
                    <a:cubicBezTo>
                      <a:pt x="44482" y="24860"/>
                      <a:pt x="50578" y="29051"/>
                      <a:pt x="50578" y="37814"/>
                    </a:cubicBezTo>
                    <a:lnTo>
                      <a:pt x="50578" y="41529"/>
                    </a:lnTo>
                    <a:cubicBezTo>
                      <a:pt x="50578" y="44482"/>
                      <a:pt x="49816" y="47244"/>
                      <a:pt x="48006" y="49625"/>
                    </a:cubicBezTo>
                    <a:cubicBezTo>
                      <a:pt x="46958" y="51245"/>
                      <a:pt x="44196" y="54293"/>
                      <a:pt x="42005" y="55721"/>
                    </a:cubicBezTo>
                    <a:cubicBezTo>
                      <a:pt x="39338" y="57626"/>
                      <a:pt x="35909" y="58674"/>
                      <a:pt x="32576" y="58674"/>
                    </a:cubicBezTo>
                    <a:lnTo>
                      <a:pt x="18193" y="58674"/>
                    </a:lnTo>
                    <a:cubicBezTo>
                      <a:pt x="15050" y="58674"/>
                      <a:pt x="11144" y="57245"/>
                      <a:pt x="8573" y="55435"/>
                    </a:cubicBezTo>
                    <a:cubicBezTo>
                      <a:pt x="6477" y="54007"/>
                      <a:pt x="1429" y="48768"/>
                      <a:pt x="0" y="45625"/>
                    </a:cubicBezTo>
                    <a:lnTo>
                      <a:pt x="12383" y="41910"/>
                    </a:lnTo>
                    <a:lnTo>
                      <a:pt x="12764" y="42482"/>
                    </a:lnTo>
                    <a:cubicBezTo>
                      <a:pt x="13621" y="43434"/>
                      <a:pt x="16383" y="46006"/>
                      <a:pt x="17717" y="46101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0" name="Freihandform: Form 139">
                <a:extLst>
                  <a:ext uri="{FF2B5EF4-FFF2-40B4-BE49-F238E27FC236}">
                    <a16:creationId xmlns:a16="http://schemas.microsoft.com/office/drawing/2014/main" id="{34F148B9-E5A1-4DA2-8E20-7A399F3E1FFD}"/>
                  </a:ext>
                </a:extLst>
              </p:cNvPr>
              <p:cNvSpPr/>
              <p:nvPr/>
            </p:nvSpPr>
            <p:spPr>
              <a:xfrm>
                <a:off x="9216351" y="5311681"/>
                <a:ext cx="49434" cy="58864"/>
              </a:xfrm>
              <a:custGeom>
                <a:avLst/>
                <a:gdLst>
                  <a:gd name="connsiteX0" fmla="*/ 13335 w 49434"/>
                  <a:gd name="connsiteY0" fmla="*/ 41339 h 58864"/>
                  <a:gd name="connsiteX1" fmla="*/ 13621 w 49434"/>
                  <a:gd name="connsiteY1" fmla="*/ 42101 h 58864"/>
                  <a:gd name="connsiteX2" fmla="*/ 17907 w 49434"/>
                  <a:gd name="connsiteY2" fmla="*/ 45910 h 58864"/>
                  <a:gd name="connsiteX3" fmla="*/ 18669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0 h 58864"/>
                  <a:gd name="connsiteX8" fmla="*/ 40862 w 49434"/>
                  <a:gd name="connsiteY8" fmla="*/ 55816 h 58864"/>
                  <a:gd name="connsiteX9" fmla="*/ 31242 w 49434"/>
                  <a:gd name="connsiteY9" fmla="*/ 58865 h 58864"/>
                  <a:gd name="connsiteX10" fmla="*/ 18479 w 49434"/>
                  <a:gd name="connsiteY10" fmla="*/ 58865 h 58864"/>
                  <a:gd name="connsiteX11" fmla="*/ 8763 w 49434"/>
                  <a:gd name="connsiteY11" fmla="*/ 56102 h 58864"/>
                  <a:gd name="connsiteX12" fmla="*/ 2381 w 49434"/>
                  <a:gd name="connsiteY12" fmla="*/ 4953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381 w 49434"/>
                  <a:gd name="connsiteY15" fmla="*/ 9335 h 58864"/>
                  <a:gd name="connsiteX16" fmla="*/ 8763 w 49434"/>
                  <a:gd name="connsiteY16" fmla="*/ 2953 h 58864"/>
                  <a:gd name="connsiteX17" fmla="*/ 18479 w 49434"/>
                  <a:gd name="connsiteY17" fmla="*/ 0 h 58864"/>
                  <a:gd name="connsiteX18" fmla="*/ 30766 w 49434"/>
                  <a:gd name="connsiteY18" fmla="*/ 0 h 58864"/>
                  <a:gd name="connsiteX19" fmla="*/ 40386 w 49434"/>
                  <a:gd name="connsiteY19" fmla="*/ 3334 h 58864"/>
                  <a:gd name="connsiteX20" fmla="*/ 49054 w 49434"/>
                  <a:gd name="connsiteY20" fmla="*/ 13240 h 58864"/>
                  <a:gd name="connsiteX21" fmla="*/ 36481 w 49434"/>
                  <a:gd name="connsiteY21" fmla="*/ 16954 h 58864"/>
                  <a:gd name="connsiteX22" fmla="*/ 36100 w 49434"/>
                  <a:gd name="connsiteY22" fmla="*/ 16383 h 58864"/>
                  <a:gd name="connsiteX23" fmla="*/ 31147 w 49434"/>
                  <a:gd name="connsiteY23" fmla="*/ 12668 h 58864"/>
                  <a:gd name="connsiteX24" fmla="*/ 18574 w 49434"/>
                  <a:gd name="connsiteY24" fmla="*/ 12668 h 58864"/>
                  <a:gd name="connsiteX25" fmla="*/ 17812 w 49434"/>
                  <a:gd name="connsiteY25" fmla="*/ 12764 h 58864"/>
                  <a:gd name="connsiteX26" fmla="*/ 13430 w 49434"/>
                  <a:gd name="connsiteY26" fmla="*/ 16764 h 58864"/>
                  <a:gd name="connsiteX27" fmla="*/ 13335 w 49434"/>
                  <a:gd name="connsiteY27" fmla="*/ 17716 h 58864"/>
                  <a:gd name="connsiteX28" fmla="*/ 13335 w 49434"/>
                  <a:gd name="connsiteY28" fmla="*/ 41339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9434" h="58864">
                    <a:moveTo>
                      <a:pt x="13335" y="41339"/>
                    </a:moveTo>
                    <a:cubicBezTo>
                      <a:pt x="13335" y="41339"/>
                      <a:pt x="13335" y="41720"/>
                      <a:pt x="13621" y="42101"/>
                    </a:cubicBezTo>
                    <a:cubicBezTo>
                      <a:pt x="14573" y="43720"/>
                      <a:pt x="16288" y="45053"/>
                      <a:pt x="17907" y="45910"/>
                    </a:cubicBezTo>
                    <a:cubicBezTo>
                      <a:pt x="17907" y="45910"/>
                      <a:pt x="18479" y="46196"/>
                      <a:pt x="18669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671" y="42767"/>
                      <a:pt x="36767" y="42672"/>
                      <a:pt x="37052" y="42196"/>
                    </a:cubicBezTo>
                    <a:lnTo>
                      <a:pt x="49435" y="45910"/>
                    </a:lnTo>
                    <a:cubicBezTo>
                      <a:pt x="48101" y="49149"/>
                      <a:pt x="43053" y="54293"/>
                      <a:pt x="40862" y="55816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479" y="58865"/>
                    </a:lnTo>
                    <a:cubicBezTo>
                      <a:pt x="15145" y="58865"/>
                      <a:pt x="11430" y="57912"/>
                      <a:pt x="8763" y="56102"/>
                    </a:cubicBezTo>
                    <a:cubicBezTo>
                      <a:pt x="6763" y="54673"/>
                      <a:pt x="3429" y="51149"/>
                      <a:pt x="2381" y="49530"/>
                    </a:cubicBezTo>
                    <a:cubicBezTo>
                      <a:pt x="571" y="46958"/>
                      <a:pt x="0" y="44101"/>
                      <a:pt x="0" y="41434"/>
                    </a:cubicBezTo>
                    <a:lnTo>
                      <a:pt x="0" y="17431"/>
                    </a:lnTo>
                    <a:cubicBezTo>
                      <a:pt x="0" y="14764"/>
                      <a:pt x="571" y="11811"/>
                      <a:pt x="2381" y="9335"/>
                    </a:cubicBezTo>
                    <a:cubicBezTo>
                      <a:pt x="3429" y="7715"/>
                      <a:pt x="6763" y="4382"/>
                      <a:pt x="8763" y="2953"/>
                    </a:cubicBezTo>
                    <a:cubicBezTo>
                      <a:pt x="11430" y="1048"/>
                      <a:pt x="15145" y="0"/>
                      <a:pt x="18479" y="0"/>
                    </a:cubicBezTo>
                    <a:lnTo>
                      <a:pt x="30766" y="0"/>
                    </a:lnTo>
                    <a:cubicBezTo>
                      <a:pt x="33909" y="0"/>
                      <a:pt x="37814" y="1619"/>
                      <a:pt x="40386" y="3334"/>
                    </a:cubicBezTo>
                    <a:cubicBezTo>
                      <a:pt x="42481" y="4763"/>
                      <a:pt x="47720" y="10001"/>
                      <a:pt x="49054" y="13240"/>
                    </a:cubicBezTo>
                    <a:lnTo>
                      <a:pt x="36481" y="16954"/>
                    </a:lnTo>
                    <a:cubicBezTo>
                      <a:pt x="36481" y="16954"/>
                      <a:pt x="36385" y="16669"/>
                      <a:pt x="36100" y="16383"/>
                    </a:cubicBezTo>
                    <a:cubicBezTo>
                      <a:pt x="35338" y="15430"/>
                      <a:pt x="32480" y="12668"/>
                      <a:pt x="31147" y="12668"/>
                    </a:cubicBezTo>
                    <a:lnTo>
                      <a:pt x="18574" y="12668"/>
                    </a:lnTo>
                    <a:cubicBezTo>
                      <a:pt x="18574" y="12668"/>
                      <a:pt x="18002" y="12668"/>
                      <a:pt x="17812" y="12764"/>
                    </a:cubicBezTo>
                    <a:cubicBezTo>
                      <a:pt x="16193" y="13716"/>
                      <a:pt x="14383" y="15145"/>
                      <a:pt x="13430" y="16764"/>
                    </a:cubicBezTo>
                    <a:cubicBezTo>
                      <a:pt x="13335" y="17050"/>
                      <a:pt x="13335" y="17716"/>
                      <a:pt x="13335" y="17716"/>
                    </a:cubicBezTo>
                    <a:lnTo>
                      <a:pt x="13335" y="41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1" name="Freihandform: Form 140">
                <a:extLst>
                  <a:ext uri="{FF2B5EF4-FFF2-40B4-BE49-F238E27FC236}">
                    <a16:creationId xmlns:a16="http://schemas.microsoft.com/office/drawing/2014/main" id="{73CB7EA6-8F73-424A-98A1-200B3C770479}"/>
                  </a:ext>
                </a:extLst>
              </p:cNvPr>
              <p:cNvSpPr/>
              <p:nvPr/>
            </p:nvSpPr>
            <p:spPr>
              <a:xfrm>
                <a:off x="9280073" y="5290249"/>
                <a:ext cx="49244" cy="79724"/>
              </a:xfrm>
              <a:custGeom>
                <a:avLst/>
                <a:gdLst>
                  <a:gd name="connsiteX0" fmla="*/ 35719 w 49244"/>
                  <a:gd name="connsiteY0" fmla="*/ 39338 h 79724"/>
                  <a:gd name="connsiteX1" fmla="*/ 35623 w 49244"/>
                  <a:gd name="connsiteY1" fmla="*/ 38671 h 79724"/>
                  <a:gd name="connsiteX2" fmla="*/ 31337 w 49244"/>
                  <a:gd name="connsiteY2" fmla="*/ 34290 h 79724"/>
                  <a:gd name="connsiteX3" fmla="*/ 30575 w 49244"/>
                  <a:gd name="connsiteY3" fmla="*/ 34195 h 79724"/>
                  <a:gd name="connsiteX4" fmla="*/ 21431 w 49244"/>
                  <a:gd name="connsiteY4" fmla="*/ 34195 h 79724"/>
                  <a:gd name="connsiteX5" fmla="*/ 13335 w 49244"/>
                  <a:gd name="connsiteY5" fmla="*/ 40196 h 79724"/>
                  <a:gd name="connsiteX6" fmla="*/ 13335 w 49244"/>
                  <a:gd name="connsiteY6" fmla="*/ 79724 h 79724"/>
                  <a:gd name="connsiteX7" fmla="*/ 0 w 49244"/>
                  <a:gd name="connsiteY7" fmla="*/ 79724 h 79724"/>
                  <a:gd name="connsiteX8" fmla="*/ 0 w 49244"/>
                  <a:gd name="connsiteY8" fmla="*/ 0 h 79724"/>
                  <a:gd name="connsiteX9" fmla="*/ 13335 w 49244"/>
                  <a:gd name="connsiteY9" fmla="*/ 0 h 79724"/>
                  <a:gd name="connsiteX10" fmla="*/ 13335 w 49244"/>
                  <a:gd name="connsiteY10" fmla="*/ 24670 h 79724"/>
                  <a:gd name="connsiteX11" fmla="*/ 21241 w 49244"/>
                  <a:gd name="connsiteY11" fmla="*/ 21431 h 79724"/>
                  <a:gd name="connsiteX12" fmla="*/ 30861 w 49244"/>
                  <a:gd name="connsiteY12" fmla="*/ 21431 h 79724"/>
                  <a:gd name="connsiteX13" fmla="*/ 40481 w 49244"/>
                  <a:gd name="connsiteY13" fmla="*/ 24384 h 79724"/>
                  <a:gd name="connsiteX14" fmla="*/ 46863 w 49244"/>
                  <a:gd name="connsiteY14" fmla="*/ 30861 h 79724"/>
                  <a:gd name="connsiteX15" fmla="*/ 49244 w 49244"/>
                  <a:gd name="connsiteY15" fmla="*/ 38957 h 79724"/>
                  <a:gd name="connsiteX16" fmla="*/ 49244 w 49244"/>
                  <a:gd name="connsiteY16" fmla="*/ 79629 h 79724"/>
                  <a:gd name="connsiteX17" fmla="*/ 35909 w 49244"/>
                  <a:gd name="connsiteY17" fmla="*/ 79629 h 79724"/>
                  <a:gd name="connsiteX18" fmla="*/ 35909 w 49244"/>
                  <a:gd name="connsiteY18" fmla="*/ 39243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244" h="79724">
                    <a:moveTo>
                      <a:pt x="35719" y="39338"/>
                    </a:moveTo>
                    <a:cubicBezTo>
                      <a:pt x="35719" y="39338"/>
                      <a:pt x="35623" y="38671"/>
                      <a:pt x="35623" y="38671"/>
                    </a:cubicBezTo>
                    <a:cubicBezTo>
                      <a:pt x="34671" y="37052"/>
                      <a:pt x="32861" y="35243"/>
                      <a:pt x="31337" y="34290"/>
                    </a:cubicBezTo>
                    <a:cubicBezTo>
                      <a:pt x="31242" y="34195"/>
                      <a:pt x="30956" y="34195"/>
                      <a:pt x="30575" y="34195"/>
                    </a:cubicBezTo>
                    <a:lnTo>
                      <a:pt x="21431" y="34195"/>
                    </a:lnTo>
                    <a:cubicBezTo>
                      <a:pt x="19717" y="34195"/>
                      <a:pt x="14859" y="38195"/>
                      <a:pt x="13335" y="40196"/>
                    </a:cubicBezTo>
                    <a:lnTo>
                      <a:pt x="13335" y="79724"/>
                    </a:lnTo>
                    <a:lnTo>
                      <a:pt x="0" y="79724"/>
                    </a:ln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24670"/>
                    </a:lnTo>
                    <a:cubicBezTo>
                      <a:pt x="15621" y="23051"/>
                      <a:pt x="18383" y="21431"/>
                      <a:pt x="21241" y="21431"/>
                    </a:cubicBezTo>
                    <a:lnTo>
                      <a:pt x="30861" y="21431"/>
                    </a:lnTo>
                    <a:cubicBezTo>
                      <a:pt x="34100" y="21431"/>
                      <a:pt x="37909" y="22479"/>
                      <a:pt x="40481" y="24384"/>
                    </a:cubicBezTo>
                    <a:cubicBezTo>
                      <a:pt x="42577" y="25813"/>
                      <a:pt x="45815" y="29432"/>
                      <a:pt x="46863" y="30861"/>
                    </a:cubicBezTo>
                    <a:cubicBezTo>
                      <a:pt x="48577" y="33433"/>
                      <a:pt x="49244" y="36100"/>
                      <a:pt x="49244" y="38957"/>
                    </a:cubicBezTo>
                    <a:lnTo>
                      <a:pt x="49244" y="79629"/>
                    </a:lnTo>
                    <a:lnTo>
                      <a:pt x="35909" y="79629"/>
                    </a:lnTo>
                    <a:lnTo>
                      <a:pt x="35909" y="3924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2" name="Freihandform: Form 141">
                <a:extLst>
                  <a:ext uri="{FF2B5EF4-FFF2-40B4-BE49-F238E27FC236}">
                    <a16:creationId xmlns:a16="http://schemas.microsoft.com/office/drawing/2014/main" id="{BD1DD05C-9E65-4F0E-98E7-3D01F0417F73}"/>
                  </a:ext>
                </a:extLst>
              </p:cNvPr>
              <p:cNvSpPr/>
              <p:nvPr/>
            </p:nvSpPr>
            <p:spPr>
              <a:xfrm>
                <a:off x="9346558" y="5312443"/>
                <a:ext cx="50482" cy="58102"/>
              </a:xfrm>
              <a:custGeom>
                <a:avLst/>
                <a:gdLst>
                  <a:gd name="connsiteX0" fmla="*/ 37243 w 50482"/>
                  <a:gd name="connsiteY0" fmla="*/ 57531 h 58102"/>
                  <a:gd name="connsiteX1" fmla="*/ 36862 w 50482"/>
                  <a:gd name="connsiteY1" fmla="*/ 54197 h 58102"/>
                  <a:gd name="connsiteX2" fmla="*/ 28480 w 50482"/>
                  <a:gd name="connsiteY2" fmla="*/ 58103 h 58102"/>
                  <a:gd name="connsiteX3" fmla="*/ 18479 w 50482"/>
                  <a:gd name="connsiteY3" fmla="*/ 58103 h 58102"/>
                  <a:gd name="connsiteX4" fmla="*/ 8763 w 50482"/>
                  <a:gd name="connsiteY4" fmla="*/ 55340 h 58102"/>
                  <a:gd name="connsiteX5" fmla="*/ 2381 w 50482"/>
                  <a:gd name="connsiteY5" fmla="*/ 48768 h 58102"/>
                  <a:gd name="connsiteX6" fmla="*/ 0 w 50482"/>
                  <a:gd name="connsiteY6" fmla="*/ 40672 h 58102"/>
                  <a:gd name="connsiteX7" fmla="*/ 0 w 50482"/>
                  <a:gd name="connsiteY7" fmla="*/ 0 h 58102"/>
                  <a:gd name="connsiteX8" fmla="*/ 13335 w 50482"/>
                  <a:gd name="connsiteY8" fmla="*/ 0 h 58102"/>
                  <a:gd name="connsiteX9" fmla="*/ 13335 w 50482"/>
                  <a:gd name="connsiteY9" fmla="*/ 40386 h 58102"/>
                  <a:gd name="connsiteX10" fmla="*/ 13430 w 50482"/>
                  <a:gd name="connsiteY10" fmla="*/ 41339 h 58102"/>
                  <a:gd name="connsiteX11" fmla="*/ 17812 w 50482"/>
                  <a:gd name="connsiteY11" fmla="*/ 45339 h 58102"/>
                  <a:gd name="connsiteX12" fmla="*/ 18574 w 50482"/>
                  <a:gd name="connsiteY12" fmla="*/ 45434 h 58102"/>
                  <a:gd name="connsiteX13" fmla="*/ 28004 w 50482"/>
                  <a:gd name="connsiteY13" fmla="*/ 45434 h 58102"/>
                  <a:gd name="connsiteX14" fmla="*/ 35909 w 50482"/>
                  <a:gd name="connsiteY14" fmla="*/ 40100 h 58102"/>
                  <a:gd name="connsiteX15" fmla="*/ 35909 w 50482"/>
                  <a:gd name="connsiteY15" fmla="*/ 0 h 58102"/>
                  <a:gd name="connsiteX16" fmla="*/ 49244 w 50482"/>
                  <a:gd name="connsiteY16" fmla="*/ 0 h 58102"/>
                  <a:gd name="connsiteX17" fmla="*/ 49244 w 50482"/>
                  <a:gd name="connsiteY17" fmla="*/ 45720 h 58102"/>
                  <a:gd name="connsiteX18" fmla="*/ 50483 w 50482"/>
                  <a:gd name="connsiteY18" fmla="*/ 57531 h 58102"/>
                  <a:gd name="connsiteX19" fmla="*/ 37338 w 50482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1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476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192" y="42767"/>
                      <a:pt x="16383" y="44387"/>
                      <a:pt x="17812" y="45339"/>
                    </a:cubicBezTo>
                    <a:cubicBezTo>
                      <a:pt x="18098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909" y="40100"/>
                    </a:cubicBezTo>
                    <a:lnTo>
                      <a:pt x="35909" y="0"/>
                    </a:lnTo>
                    <a:lnTo>
                      <a:pt x="49244" y="0"/>
                    </a:lnTo>
                    <a:lnTo>
                      <a:pt x="49244" y="45720"/>
                    </a:lnTo>
                    <a:lnTo>
                      <a:pt x="50483" y="57531"/>
                    </a:lnTo>
                    <a:lnTo>
                      <a:pt x="37338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3" name="Freihandform: Form 142">
                <a:extLst>
                  <a:ext uri="{FF2B5EF4-FFF2-40B4-BE49-F238E27FC236}">
                    <a16:creationId xmlns:a16="http://schemas.microsoft.com/office/drawing/2014/main" id="{D395B3E6-9C94-4ECE-91A4-3426F68135E2}"/>
                  </a:ext>
                </a:extLst>
              </p:cNvPr>
              <p:cNvSpPr/>
              <p:nvPr/>
            </p:nvSpPr>
            <p:spPr>
              <a:xfrm>
                <a:off x="9414566" y="5290249"/>
                <a:ext cx="14573" cy="79724"/>
              </a:xfrm>
              <a:custGeom>
                <a:avLst/>
                <a:gdLst>
                  <a:gd name="connsiteX0" fmla="*/ 1334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334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4" y="79724"/>
                    </a:moveTo>
                    <a:cubicBezTo>
                      <a:pt x="953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334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4" name="Freihandform: Form 143">
                <a:extLst>
                  <a:ext uri="{FF2B5EF4-FFF2-40B4-BE49-F238E27FC236}">
                    <a16:creationId xmlns:a16="http://schemas.microsoft.com/office/drawing/2014/main" id="{2EF207F9-236A-4D7F-88A3-7244D7263441}"/>
                  </a:ext>
                </a:extLst>
              </p:cNvPr>
              <p:cNvSpPr/>
              <p:nvPr/>
            </p:nvSpPr>
            <p:spPr>
              <a:xfrm>
                <a:off x="9448094" y="5311776"/>
                <a:ext cx="49434" cy="58864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956 w 49434"/>
                  <a:gd name="connsiteY27" fmla="*/ 12763 h 58864"/>
                  <a:gd name="connsiteX28" fmla="*/ 18859 w 49434"/>
                  <a:gd name="connsiteY28" fmla="*/ 12763 h 58864"/>
                  <a:gd name="connsiteX29" fmla="*/ 13621 w 49434"/>
                  <a:gd name="connsiteY29" fmla="*/ 17050 h 58864"/>
                  <a:gd name="connsiteX30" fmla="*/ 13525 w 49434"/>
                  <a:gd name="connsiteY30" fmla="*/ 17812 h 58864"/>
                  <a:gd name="connsiteX31" fmla="*/ 13525 w 49434"/>
                  <a:gd name="connsiteY31" fmla="*/ 23813 h 58864"/>
                  <a:gd name="connsiteX32" fmla="*/ 36290 w 49434"/>
                  <a:gd name="connsiteY32" fmla="*/ 23813 h 58864"/>
                  <a:gd name="connsiteX33" fmla="*/ 36290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0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338" y="15621"/>
                      <a:pt x="33338" y="13716"/>
                      <a:pt x="31718" y="12859"/>
                    </a:cubicBezTo>
                    <a:cubicBezTo>
                      <a:pt x="31432" y="12763"/>
                      <a:pt x="31147" y="12763"/>
                      <a:pt x="30956" y="12763"/>
                    </a:cubicBezTo>
                    <a:lnTo>
                      <a:pt x="18859" y="12763"/>
                    </a:lnTo>
                    <a:cubicBezTo>
                      <a:pt x="17526" y="12763"/>
                      <a:pt x="14859" y="15050"/>
                      <a:pt x="13621" y="17050"/>
                    </a:cubicBezTo>
                    <a:cubicBezTo>
                      <a:pt x="13525" y="17336"/>
                      <a:pt x="13525" y="17812"/>
                      <a:pt x="13525" y="17812"/>
                    </a:cubicBezTo>
                    <a:lnTo>
                      <a:pt x="13525" y="23813"/>
                    </a:lnTo>
                    <a:lnTo>
                      <a:pt x="36290" y="23813"/>
                    </a:lnTo>
                    <a:lnTo>
                      <a:pt x="36290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5" name="Freihandform: Form 144">
                <a:extLst>
                  <a:ext uri="{FF2B5EF4-FFF2-40B4-BE49-F238E27FC236}">
                    <a16:creationId xmlns:a16="http://schemas.microsoft.com/office/drawing/2014/main" id="{240A14AE-2C29-4DC4-8393-3E77C2657E22}"/>
                  </a:ext>
                </a:extLst>
              </p:cNvPr>
              <p:cNvSpPr/>
              <p:nvPr/>
            </p:nvSpPr>
            <p:spPr>
              <a:xfrm>
                <a:off x="9549059" y="5290440"/>
                <a:ext cx="61150" cy="79533"/>
              </a:xfrm>
              <a:custGeom>
                <a:avLst/>
                <a:gdLst>
                  <a:gd name="connsiteX0" fmla="*/ 44672 w 61150"/>
                  <a:gd name="connsiteY0" fmla="*/ 79534 h 79533"/>
                  <a:gd name="connsiteX1" fmla="*/ 26765 w 61150"/>
                  <a:gd name="connsiteY1" fmla="*/ 47911 h 79533"/>
                  <a:gd name="connsiteX2" fmla="*/ 14002 w 61150"/>
                  <a:gd name="connsiteY2" fmla="*/ 47911 h 79533"/>
                  <a:gd name="connsiteX3" fmla="*/ 14002 w 61150"/>
                  <a:gd name="connsiteY3" fmla="*/ 79534 h 79533"/>
                  <a:gd name="connsiteX4" fmla="*/ 0 w 61150"/>
                  <a:gd name="connsiteY4" fmla="*/ 79534 h 79533"/>
                  <a:gd name="connsiteX5" fmla="*/ 0 w 61150"/>
                  <a:gd name="connsiteY5" fmla="*/ 0 h 79533"/>
                  <a:gd name="connsiteX6" fmla="*/ 37433 w 61150"/>
                  <a:gd name="connsiteY6" fmla="*/ 0 h 79533"/>
                  <a:gd name="connsiteX7" fmla="*/ 47054 w 61150"/>
                  <a:gd name="connsiteY7" fmla="*/ 2953 h 79533"/>
                  <a:gd name="connsiteX8" fmla="*/ 54102 w 61150"/>
                  <a:gd name="connsiteY8" fmla="*/ 10287 h 79533"/>
                  <a:gd name="connsiteX9" fmla="*/ 56483 w 61150"/>
                  <a:gd name="connsiteY9" fmla="*/ 18383 h 79533"/>
                  <a:gd name="connsiteX10" fmla="*/ 56483 w 61150"/>
                  <a:gd name="connsiteY10" fmla="*/ 29813 h 79533"/>
                  <a:gd name="connsiteX11" fmla="*/ 54102 w 61150"/>
                  <a:gd name="connsiteY11" fmla="*/ 37910 h 79533"/>
                  <a:gd name="connsiteX12" fmla="*/ 47054 w 61150"/>
                  <a:gd name="connsiteY12" fmla="*/ 44958 h 79533"/>
                  <a:gd name="connsiteX13" fmla="*/ 42100 w 61150"/>
                  <a:gd name="connsiteY13" fmla="*/ 46958 h 79533"/>
                  <a:gd name="connsiteX14" fmla="*/ 61150 w 61150"/>
                  <a:gd name="connsiteY14" fmla="*/ 79439 h 79533"/>
                  <a:gd name="connsiteX15" fmla="*/ 44672 w 61150"/>
                  <a:gd name="connsiteY15" fmla="*/ 79439 h 79533"/>
                  <a:gd name="connsiteX16" fmla="*/ 42481 w 61150"/>
                  <a:gd name="connsiteY16" fmla="*/ 18479 h 79533"/>
                  <a:gd name="connsiteX17" fmla="*/ 42386 w 61150"/>
                  <a:gd name="connsiteY17" fmla="*/ 17526 h 79533"/>
                  <a:gd name="connsiteX18" fmla="*/ 38100 w 61150"/>
                  <a:gd name="connsiteY18" fmla="*/ 13240 h 79533"/>
                  <a:gd name="connsiteX19" fmla="*/ 14002 w 61150"/>
                  <a:gd name="connsiteY19" fmla="*/ 13240 h 79533"/>
                  <a:gd name="connsiteX20" fmla="*/ 14002 w 61150"/>
                  <a:gd name="connsiteY20" fmla="*/ 34576 h 79533"/>
                  <a:gd name="connsiteX21" fmla="*/ 37433 w 61150"/>
                  <a:gd name="connsiteY21" fmla="*/ 34576 h 79533"/>
                  <a:gd name="connsiteX22" fmla="*/ 42386 w 61150"/>
                  <a:gd name="connsiteY22" fmla="*/ 30004 h 79533"/>
                  <a:gd name="connsiteX23" fmla="*/ 42481 w 61150"/>
                  <a:gd name="connsiteY23" fmla="*/ 29432 h 79533"/>
                  <a:gd name="connsiteX24" fmla="*/ 42481 w 61150"/>
                  <a:gd name="connsiteY24" fmla="*/ 18383 h 79533"/>
                  <a:gd name="connsiteX25" fmla="*/ 42481 w 61150"/>
                  <a:gd name="connsiteY25" fmla="*/ 18383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1150" h="79533">
                    <a:moveTo>
                      <a:pt x="44672" y="79534"/>
                    </a:moveTo>
                    <a:lnTo>
                      <a:pt x="26765" y="47911"/>
                    </a:lnTo>
                    <a:lnTo>
                      <a:pt x="14002" y="47911"/>
                    </a:lnTo>
                    <a:lnTo>
                      <a:pt x="14002" y="79534"/>
                    </a:lnTo>
                    <a:lnTo>
                      <a:pt x="0" y="79534"/>
                    </a:lnTo>
                    <a:lnTo>
                      <a:pt x="0" y="0"/>
                    </a:lnTo>
                    <a:lnTo>
                      <a:pt x="37433" y="0"/>
                    </a:lnTo>
                    <a:cubicBezTo>
                      <a:pt x="40672" y="0"/>
                      <a:pt x="44387" y="1048"/>
                      <a:pt x="47054" y="2953"/>
                    </a:cubicBezTo>
                    <a:cubicBezTo>
                      <a:pt x="48863" y="4286"/>
                      <a:pt x="52864" y="8573"/>
                      <a:pt x="54102" y="10287"/>
                    </a:cubicBezTo>
                    <a:cubicBezTo>
                      <a:pt x="55721" y="12668"/>
                      <a:pt x="56483" y="15621"/>
                      <a:pt x="56483" y="18383"/>
                    </a:cubicBezTo>
                    <a:lnTo>
                      <a:pt x="56483" y="29813"/>
                    </a:lnTo>
                    <a:cubicBezTo>
                      <a:pt x="56483" y="32766"/>
                      <a:pt x="55721" y="35528"/>
                      <a:pt x="54102" y="37910"/>
                    </a:cubicBezTo>
                    <a:cubicBezTo>
                      <a:pt x="52864" y="39624"/>
                      <a:pt x="48863" y="43624"/>
                      <a:pt x="47054" y="44958"/>
                    </a:cubicBezTo>
                    <a:cubicBezTo>
                      <a:pt x="46006" y="45720"/>
                      <a:pt x="43720" y="46673"/>
                      <a:pt x="42100" y="46958"/>
                    </a:cubicBezTo>
                    <a:lnTo>
                      <a:pt x="61150" y="79439"/>
                    </a:lnTo>
                    <a:lnTo>
                      <a:pt x="44672" y="79439"/>
                    </a:lnTo>
                    <a:close/>
                    <a:moveTo>
                      <a:pt x="42481" y="18479"/>
                    </a:moveTo>
                    <a:cubicBezTo>
                      <a:pt x="42481" y="18479"/>
                      <a:pt x="42481" y="17716"/>
                      <a:pt x="42386" y="17526"/>
                    </a:cubicBezTo>
                    <a:cubicBezTo>
                      <a:pt x="41624" y="16097"/>
                      <a:pt x="39433" y="13430"/>
                      <a:pt x="38100" y="13240"/>
                    </a:cubicBezTo>
                    <a:lnTo>
                      <a:pt x="14002" y="13240"/>
                    </a:lnTo>
                    <a:lnTo>
                      <a:pt x="14002" y="34576"/>
                    </a:lnTo>
                    <a:lnTo>
                      <a:pt x="37433" y="34576"/>
                    </a:lnTo>
                    <a:cubicBezTo>
                      <a:pt x="38671" y="34576"/>
                      <a:pt x="41339" y="31909"/>
                      <a:pt x="42386" y="30004"/>
                    </a:cubicBezTo>
                    <a:cubicBezTo>
                      <a:pt x="42386" y="30004"/>
                      <a:pt x="42481" y="29718"/>
                      <a:pt x="42481" y="29432"/>
                    </a:cubicBezTo>
                    <a:lnTo>
                      <a:pt x="42481" y="18383"/>
                    </a:lnTo>
                    <a:lnTo>
                      <a:pt x="42481" y="18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6" name="Freihandform: Form 145">
                <a:extLst>
                  <a:ext uri="{FF2B5EF4-FFF2-40B4-BE49-F238E27FC236}">
                    <a16:creationId xmlns:a16="http://schemas.microsoft.com/office/drawing/2014/main" id="{91AD21B1-2B56-4F96-9119-37C5385BEBD9}"/>
                  </a:ext>
                </a:extLst>
              </p:cNvPr>
              <p:cNvSpPr/>
              <p:nvPr/>
            </p:nvSpPr>
            <p:spPr>
              <a:xfrm>
                <a:off x="9625259" y="5311776"/>
                <a:ext cx="49434" cy="58864"/>
              </a:xfrm>
              <a:custGeom>
                <a:avLst/>
                <a:gdLst>
                  <a:gd name="connsiteX0" fmla="*/ 13525 w 49434"/>
                  <a:gd name="connsiteY0" fmla="*/ 36195 h 58864"/>
                  <a:gd name="connsiteX1" fmla="*/ 13525 w 49434"/>
                  <a:gd name="connsiteY1" fmla="*/ 41243 h 58864"/>
                  <a:gd name="connsiteX2" fmla="*/ 13621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290 w 49434"/>
                  <a:gd name="connsiteY24" fmla="*/ 17717 h 58864"/>
                  <a:gd name="connsiteX25" fmla="*/ 36195 w 49434"/>
                  <a:gd name="connsiteY25" fmla="*/ 16955 h 58864"/>
                  <a:gd name="connsiteX26" fmla="*/ 31814 w 49434"/>
                  <a:gd name="connsiteY26" fmla="*/ 12859 h 58864"/>
                  <a:gd name="connsiteX27" fmla="*/ 31052 w 49434"/>
                  <a:gd name="connsiteY27" fmla="*/ 12763 h 58864"/>
                  <a:gd name="connsiteX28" fmla="*/ 18955 w 49434"/>
                  <a:gd name="connsiteY28" fmla="*/ 12763 h 58864"/>
                  <a:gd name="connsiteX29" fmla="*/ 13811 w 49434"/>
                  <a:gd name="connsiteY29" fmla="*/ 17050 h 58864"/>
                  <a:gd name="connsiteX30" fmla="*/ 13716 w 49434"/>
                  <a:gd name="connsiteY30" fmla="*/ 17812 h 58864"/>
                  <a:gd name="connsiteX31" fmla="*/ 13716 w 49434"/>
                  <a:gd name="connsiteY31" fmla="*/ 23813 h 58864"/>
                  <a:gd name="connsiteX32" fmla="*/ 36481 w 49434"/>
                  <a:gd name="connsiteY32" fmla="*/ 23813 h 58864"/>
                  <a:gd name="connsiteX33" fmla="*/ 36481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525" y="36195"/>
                    </a:moveTo>
                    <a:lnTo>
                      <a:pt x="13525" y="41243"/>
                    </a:lnTo>
                    <a:cubicBezTo>
                      <a:pt x="13525" y="41243"/>
                      <a:pt x="13621" y="41910"/>
                      <a:pt x="13621" y="41910"/>
                    </a:cubicBezTo>
                    <a:cubicBezTo>
                      <a:pt x="14859" y="43910"/>
                      <a:pt x="17526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767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386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19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19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958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290" y="17717"/>
                    </a:moveTo>
                    <a:cubicBezTo>
                      <a:pt x="36290" y="17717"/>
                      <a:pt x="36290" y="17050"/>
                      <a:pt x="36195" y="16955"/>
                    </a:cubicBezTo>
                    <a:cubicBezTo>
                      <a:pt x="35433" y="15621"/>
                      <a:pt x="33433" y="13716"/>
                      <a:pt x="31814" y="12859"/>
                    </a:cubicBezTo>
                    <a:cubicBezTo>
                      <a:pt x="31528" y="12763"/>
                      <a:pt x="31242" y="12763"/>
                      <a:pt x="31052" y="12763"/>
                    </a:cubicBezTo>
                    <a:lnTo>
                      <a:pt x="18955" y="12763"/>
                    </a:lnTo>
                    <a:cubicBezTo>
                      <a:pt x="17621" y="12763"/>
                      <a:pt x="14954" y="15050"/>
                      <a:pt x="13811" y="17050"/>
                    </a:cubicBezTo>
                    <a:cubicBezTo>
                      <a:pt x="13716" y="17336"/>
                      <a:pt x="13716" y="17812"/>
                      <a:pt x="13716" y="17812"/>
                    </a:cubicBezTo>
                    <a:lnTo>
                      <a:pt x="13716" y="23813"/>
                    </a:lnTo>
                    <a:lnTo>
                      <a:pt x="36481" y="23813"/>
                    </a:lnTo>
                    <a:lnTo>
                      <a:pt x="36481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7" name="Freihandform: Form 146">
                <a:extLst>
                  <a:ext uri="{FF2B5EF4-FFF2-40B4-BE49-F238E27FC236}">
                    <a16:creationId xmlns:a16="http://schemas.microsoft.com/office/drawing/2014/main" id="{F38FFD82-4D78-43EA-A36A-903F02B1FAD5}"/>
                  </a:ext>
                </a:extLst>
              </p:cNvPr>
              <p:cNvSpPr/>
              <p:nvPr/>
            </p:nvSpPr>
            <p:spPr>
              <a:xfrm>
                <a:off x="9694315" y="5312443"/>
                <a:ext cx="50387" cy="58102"/>
              </a:xfrm>
              <a:custGeom>
                <a:avLst/>
                <a:gdLst>
                  <a:gd name="connsiteX0" fmla="*/ 37243 w 50387"/>
                  <a:gd name="connsiteY0" fmla="*/ 57531 h 58102"/>
                  <a:gd name="connsiteX1" fmla="*/ 36862 w 50387"/>
                  <a:gd name="connsiteY1" fmla="*/ 54197 h 58102"/>
                  <a:gd name="connsiteX2" fmla="*/ 28480 w 50387"/>
                  <a:gd name="connsiteY2" fmla="*/ 58103 h 58102"/>
                  <a:gd name="connsiteX3" fmla="*/ 18479 w 50387"/>
                  <a:gd name="connsiteY3" fmla="*/ 58103 h 58102"/>
                  <a:gd name="connsiteX4" fmla="*/ 8763 w 50387"/>
                  <a:gd name="connsiteY4" fmla="*/ 55340 h 58102"/>
                  <a:gd name="connsiteX5" fmla="*/ 2381 w 50387"/>
                  <a:gd name="connsiteY5" fmla="*/ 48768 h 58102"/>
                  <a:gd name="connsiteX6" fmla="*/ 0 w 50387"/>
                  <a:gd name="connsiteY6" fmla="*/ 40672 h 58102"/>
                  <a:gd name="connsiteX7" fmla="*/ 0 w 50387"/>
                  <a:gd name="connsiteY7" fmla="*/ 0 h 58102"/>
                  <a:gd name="connsiteX8" fmla="*/ 13335 w 50387"/>
                  <a:gd name="connsiteY8" fmla="*/ 0 h 58102"/>
                  <a:gd name="connsiteX9" fmla="*/ 13335 w 50387"/>
                  <a:gd name="connsiteY9" fmla="*/ 40386 h 58102"/>
                  <a:gd name="connsiteX10" fmla="*/ 13430 w 50387"/>
                  <a:gd name="connsiteY10" fmla="*/ 41339 h 58102"/>
                  <a:gd name="connsiteX11" fmla="*/ 17812 w 50387"/>
                  <a:gd name="connsiteY11" fmla="*/ 45339 h 58102"/>
                  <a:gd name="connsiteX12" fmla="*/ 18574 w 50387"/>
                  <a:gd name="connsiteY12" fmla="*/ 45434 h 58102"/>
                  <a:gd name="connsiteX13" fmla="*/ 28004 w 50387"/>
                  <a:gd name="connsiteY13" fmla="*/ 45434 h 58102"/>
                  <a:gd name="connsiteX14" fmla="*/ 35814 w 50387"/>
                  <a:gd name="connsiteY14" fmla="*/ 40100 h 58102"/>
                  <a:gd name="connsiteX15" fmla="*/ 35814 w 50387"/>
                  <a:gd name="connsiteY15" fmla="*/ 0 h 58102"/>
                  <a:gd name="connsiteX16" fmla="*/ 49149 w 50387"/>
                  <a:gd name="connsiteY16" fmla="*/ 0 h 58102"/>
                  <a:gd name="connsiteX17" fmla="*/ 49149 w 50387"/>
                  <a:gd name="connsiteY17" fmla="*/ 45720 h 58102"/>
                  <a:gd name="connsiteX18" fmla="*/ 50387 w 50387"/>
                  <a:gd name="connsiteY18" fmla="*/ 57531 h 58102"/>
                  <a:gd name="connsiteX19" fmla="*/ 37243 w 50387"/>
                  <a:gd name="connsiteY19" fmla="*/ 57531 h 5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02">
                    <a:moveTo>
                      <a:pt x="37243" y="57531"/>
                    </a:moveTo>
                    <a:lnTo>
                      <a:pt x="36862" y="54197"/>
                    </a:lnTo>
                    <a:cubicBezTo>
                      <a:pt x="34480" y="55912"/>
                      <a:pt x="31528" y="58103"/>
                      <a:pt x="28480" y="58103"/>
                    </a:cubicBezTo>
                    <a:lnTo>
                      <a:pt x="18479" y="58103"/>
                    </a:lnTo>
                    <a:cubicBezTo>
                      <a:pt x="15145" y="58103"/>
                      <a:pt x="11430" y="57150"/>
                      <a:pt x="8763" y="55340"/>
                    </a:cubicBezTo>
                    <a:cubicBezTo>
                      <a:pt x="6763" y="53912"/>
                      <a:pt x="3429" y="50387"/>
                      <a:pt x="2381" y="48768"/>
                    </a:cubicBezTo>
                    <a:cubicBezTo>
                      <a:pt x="571" y="46196"/>
                      <a:pt x="0" y="43339"/>
                      <a:pt x="0" y="40672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40386"/>
                    </a:lnTo>
                    <a:cubicBezTo>
                      <a:pt x="13335" y="40386"/>
                      <a:pt x="13335" y="41053"/>
                      <a:pt x="13430" y="41339"/>
                    </a:cubicBezTo>
                    <a:cubicBezTo>
                      <a:pt x="14288" y="42767"/>
                      <a:pt x="16383" y="44387"/>
                      <a:pt x="17812" y="45339"/>
                    </a:cubicBezTo>
                    <a:cubicBezTo>
                      <a:pt x="18097" y="45434"/>
                      <a:pt x="18193" y="45434"/>
                      <a:pt x="18574" y="45434"/>
                    </a:cubicBezTo>
                    <a:lnTo>
                      <a:pt x="28004" y="45434"/>
                    </a:lnTo>
                    <a:cubicBezTo>
                      <a:pt x="29337" y="45434"/>
                      <a:pt x="34100" y="42005"/>
                      <a:pt x="35814" y="40100"/>
                    </a:cubicBezTo>
                    <a:lnTo>
                      <a:pt x="35814" y="0"/>
                    </a:lnTo>
                    <a:lnTo>
                      <a:pt x="49149" y="0"/>
                    </a:lnTo>
                    <a:lnTo>
                      <a:pt x="49149" y="45720"/>
                    </a:lnTo>
                    <a:lnTo>
                      <a:pt x="50387" y="57531"/>
                    </a:lnTo>
                    <a:lnTo>
                      <a:pt x="37243" y="5753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8" name="Freihandform: Form 147">
                <a:extLst>
                  <a:ext uri="{FF2B5EF4-FFF2-40B4-BE49-F238E27FC236}">
                    <a16:creationId xmlns:a16="http://schemas.microsoft.com/office/drawing/2014/main" id="{5FF6D2AC-28A8-4335-9D05-E541D3D35A5C}"/>
                  </a:ext>
                </a:extLst>
              </p:cNvPr>
              <p:cNvSpPr/>
              <p:nvPr/>
            </p:nvSpPr>
            <p:spPr>
              <a:xfrm>
                <a:off x="9758609" y="5290344"/>
                <a:ext cx="38766" cy="79629"/>
              </a:xfrm>
              <a:custGeom>
                <a:avLst/>
                <a:gdLst>
                  <a:gd name="connsiteX0" fmla="*/ 22479 w 38766"/>
                  <a:gd name="connsiteY0" fmla="*/ 61817 h 79629"/>
                  <a:gd name="connsiteX1" fmla="*/ 22574 w 38766"/>
                  <a:gd name="connsiteY1" fmla="*/ 62579 h 79629"/>
                  <a:gd name="connsiteX2" fmla="*/ 27718 w 38766"/>
                  <a:gd name="connsiteY2" fmla="*/ 66961 h 79629"/>
                  <a:gd name="connsiteX3" fmla="*/ 38767 w 38766"/>
                  <a:gd name="connsiteY3" fmla="*/ 66961 h 79629"/>
                  <a:gd name="connsiteX4" fmla="*/ 38767 w 38766"/>
                  <a:gd name="connsiteY4" fmla="*/ 79629 h 79629"/>
                  <a:gd name="connsiteX5" fmla="*/ 27527 w 38766"/>
                  <a:gd name="connsiteY5" fmla="*/ 79629 h 79629"/>
                  <a:gd name="connsiteX6" fmla="*/ 17907 w 38766"/>
                  <a:gd name="connsiteY6" fmla="*/ 76867 h 79629"/>
                  <a:gd name="connsiteX7" fmla="*/ 11525 w 38766"/>
                  <a:gd name="connsiteY7" fmla="*/ 70295 h 79629"/>
                  <a:gd name="connsiteX8" fmla="*/ 8954 w 38766"/>
                  <a:gd name="connsiteY8" fmla="*/ 61913 h 79629"/>
                  <a:gd name="connsiteX9" fmla="*/ 8954 w 38766"/>
                  <a:gd name="connsiteY9" fmla="*/ 34766 h 79629"/>
                  <a:gd name="connsiteX10" fmla="*/ 0 w 38766"/>
                  <a:gd name="connsiteY10" fmla="*/ 34766 h 79629"/>
                  <a:gd name="connsiteX11" fmla="*/ 0 w 38766"/>
                  <a:gd name="connsiteY11" fmla="*/ 22098 h 79629"/>
                  <a:gd name="connsiteX12" fmla="*/ 8954 w 38766"/>
                  <a:gd name="connsiteY12" fmla="*/ 22098 h 79629"/>
                  <a:gd name="connsiteX13" fmla="*/ 8954 w 38766"/>
                  <a:gd name="connsiteY13" fmla="*/ 0 h 79629"/>
                  <a:gd name="connsiteX14" fmla="*/ 22288 w 38766"/>
                  <a:gd name="connsiteY14" fmla="*/ 0 h 79629"/>
                  <a:gd name="connsiteX15" fmla="*/ 22288 w 38766"/>
                  <a:gd name="connsiteY15" fmla="*/ 22098 h 79629"/>
                  <a:gd name="connsiteX16" fmla="*/ 38767 w 38766"/>
                  <a:gd name="connsiteY16" fmla="*/ 22098 h 79629"/>
                  <a:gd name="connsiteX17" fmla="*/ 38767 w 38766"/>
                  <a:gd name="connsiteY17" fmla="*/ 34766 h 79629"/>
                  <a:gd name="connsiteX18" fmla="*/ 22288 w 38766"/>
                  <a:gd name="connsiteY18" fmla="*/ 34766 h 79629"/>
                  <a:gd name="connsiteX19" fmla="*/ 22288 w 38766"/>
                  <a:gd name="connsiteY19" fmla="*/ 61817 h 79629"/>
                  <a:gd name="connsiteX20" fmla="*/ 22288 w 38766"/>
                  <a:gd name="connsiteY20" fmla="*/ 61817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8766" h="79629">
                    <a:moveTo>
                      <a:pt x="22479" y="61817"/>
                    </a:moveTo>
                    <a:cubicBezTo>
                      <a:pt x="22479" y="61817"/>
                      <a:pt x="22479" y="62389"/>
                      <a:pt x="22574" y="62579"/>
                    </a:cubicBezTo>
                    <a:cubicBezTo>
                      <a:pt x="23336" y="64008"/>
                      <a:pt x="25908" y="66961"/>
                      <a:pt x="27718" y="66961"/>
                    </a:cubicBezTo>
                    <a:lnTo>
                      <a:pt x="38767" y="66961"/>
                    </a:lnTo>
                    <a:lnTo>
                      <a:pt x="38767" y="79629"/>
                    </a:lnTo>
                    <a:lnTo>
                      <a:pt x="27527" y="79629"/>
                    </a:lnTo>
                    <a:cubicBezTo>
                      <a:pt x="24193" y="79629"/>
                      <a:pt x="20574" y="78677"/>
                      <a:pt x="17907" y="76867"/>
                    </a:cubicBezTo>
                    <a:cubicBezTo>
                      <a:pt x="15812" y="75438"/>
                      <a:pt x="12573" y="71819"/>
                      <a:pt x="11525" y="70295"/>
                    </a:cubicBezTo>
                    <a:cubicBezTo>
                      <a:pt x="9811" y="67723"/>
                      <a:pt x="8954" y="64865"/>
                      <a:pt x="8954" y="61913"/>
                    </a:cubicBezTo>
                    <a:lnTo>
                      <a:pt x="8954" y="34766"/>
                    </a:lnTo>
                    <a:lnTo>
                      <a:pt x="0" y="34766"/>
                    </a:lnTo>
                    <a:lnTo>
                      <a:pt x="0" y="22098"/>
                    </a:lnTo>
                    <a:lnTo>
                      <a:pt x="8954" y="22098"/>
                    </a:lnTo>
                    <a:lnTo>
                      <a:pt x="8954" y="0"/>
                    </a:lnTo>
                    <a:lnTo>
                      <a:pt x="22288" y="0"/>
                    </a:lnTo>
                    <a:lnTo>
                      <a:pt x="22288" y="22098"/>
                    </a:lnTo>
                    <a:lnTo>
                      <a:pt x="38767" y="22098"/>
                    </a:lnTo>
                    <a:lnTo>
                      <a:pt x="38767" y="34766"/>
                    </a:lnTo>
                    <a:lnTo>
                      <a:pt x="22288" y="34766"/>
                    </a:lnTo>
                    <a:lnTo>
                      <a:pt x="22288" y="61817"/>
                    </a:lnTo>
                    <a:lnTo>
                      <a:pt x="22288" y="618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49" name="Freihandform: Form 148">
                <a:extLst>
                  <a:ext uri="{FF2B5EF4-FFF2-40B4-BE49-F238E27FC236}">
                    <a16:creationId xmlns:a16="http://schemas.microsoft.com/office/drawing/2014/main" id="{711DAFA2-CCA3-431F-9FCE-1B6D217DE892}"/>
                  </a:ext>
                </a:extLst>
              </p:cNvPr>
              <p:cNvSpPr/>
              <p:nvPr/>
            </p:nvSpPr>
            <p:spPr>
              <a:xfrm>
                <a:off x="9816998" y="5290249"/>
                <a:ext cx="14573" cy="79724"/>
              </a:xfrm>
              <a:custGeom>
                <a:avLst/>
                <a:gdLst>
                  <a:gd name="connsiteX0" fmla="*/ 1333 w 14573"/>
                  <a:gd name="connsiteY0" fmla="*/ 79724 h 79724"/>
                  <a:gd name="connsiteX1" fmla="*/ 0 w 14573"/>
                  <a:gd name="connsiteY1" fmla="*/ 69914 h 79724"/>
                  <a:gd name="connsiteX2" fmla="*/ 0 w 14573"/>
                  <a:gd name="connsiteY2" fmla="*/ 0 h 79724"/>
                  <a:gd name="connsiteX3" fmla="*/ 13335 w 14573"/>
                  <a:gd name="connsiteY3" fmla="*/ 0 h 79724"/>
                  <a:gd name="connsiteX4" fmla="*/ 13335 w 14573"/>
                  <a:gd name="connsiteY4" fmla="*/ 68390 h 79724"/>
                  <a:gd name="connsiteX5" fmla="*/ 14573 w 14573"/>
                  <a:gd name="connsiteY5" fmla="*/ 79724 h 79724"/>
                  <a:gd name="connsiteX6" fmla="*/ 1429 w 14573"/>
                  <a:gd name="connsiteY6" fmla="*/ 79724 h 79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573" h="79724">
                    <a:moveTo>
                      <a:pt x="1333" y="79724"/>
                    </a:moveTo>
                    <a:cubicBezTo>
                      <a:pt x="952" y="77057"/>
                      <a:pt x="0" y="72390"/>
                      <a:pt x="0" y="69914"/>
                    </a:cubicBezTo>
                    <a:lnTo>
                      <a:pt x="0" y="0"/>
                    </a:lnTo>
                    <a:lnTo>
                      <a:pt x="13335" y="0"/>
                    </a:lnTo>
                    <a:lnTo>
                      <a:pt x="13335" y="68390"/>
                    </a:lnTo>
                    <a:cubicBezTo>
                      <a:pt x="13335" y="70961"/>
                      <a:pt x="14002" y="73724"/>
                      <a:pt x="14573" y="79724"/>
                    </a:cubicBezTo>
                    <a:lnTo>
                      <a:pt x="1429" y="7972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0" name="Freihandform: Form 149">
                <a:extLst>
                  <a:ext uri="{FF2B5EF4-FFF2-40B4-BE49-F238E27FC236}">
                    <a16:creationId xmlns:a16="http://schemas.microsoft.com/office/drawing/2014/main" id="{7170970B-95D5-4F6F-980E-26CD6555318E}"/>
                  </a:ext>
                </a:extLst>
              </p:cNvPr>
              <p:cNvSpPr/>
              <p:nvPr/>
            </p:nvSpPr>
            <p:spPr>
              <a:xfrm>
                <a:off x="9854907" y="5290916"/>
                <a:ext cx="14287" cy="78962"/>
              </a:xfrm>
              <a:custGeom>
                <a:avLst/>
                <a:gdLst>
                  <a:gd name="connsiteX0" fmla="*/ 0 w 14287"/>
                  <a:gd name="connsiteY0" fmla="*/ 0 h 78962"/>
                  <a:gd name="connsiteX1" fmla="*/ 14288 w 14287"/>
                  <a:gd name="connsiteY1" fmla="*/ 0 h 78962"/>
                  <a:gd name="connsiteX2" fmla="*/ 14288 w 14287"/>
                  <a:gd name="connsiteY2" fmla="*/ 14288 h 78962"/>
                  <a:gd name="connsiteX3" fmla="*/ 0 w 14287"/>
                  <a:gd name="connsiteY3" fmla="*/ 14288 h 78962"/>
                  <a:gd name="connsiteX4" fmla="*/ 0 w 14287"/>
                  <a:gd name="connsiteY4" fmla="*/ 0 h 78962"/>
                  <a:gd name="connsiteX5" fmla="*/ 571 w 14287"/>
                  <a:gd name="connsiteY5" fmla="*/ 21431 h 78962"/>
                  <a:gd name="connsiteX6" fmla="*/ 13907 w 14287"/>
                  <a:gd name="connsiteY6" fmla="*/ 21431 h 78962"/>
                  <a:gd name="connsiteX7" fmla="*/ 13907 w 14287"/>
                  <a:gd name="connsiteY7" fmla="*/ 78962 h 78962"/>
                  <a:gd name="connsiteX8" fmla="*/ 571 w 14287"/>
                  <a:gd name="connsiteY8" fmla="*/ 78962 h 78962"/>
                  <a:gd name="connsiteX9" fmla="*/ 571 w 14287"/>
                  <a:gd name="connsiteY9" fmla="*/ 21527 h 7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87" h="78962">
                    <a:moveTo>
                      <a:pt x="0" y="0"/>
                    </a:moveTo>
                    <a:lnTo>
                      <a:pt x="14288" y="0"/>
                    </a:lnTo>
                    <a:lnTo>
                      <a:pt x="14288" y="14288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  <a:moveTo>
                      <a:pt x="571" y="21431"/>
                    </a:moveTo>
                    <a:lnTo>
                      <a:pt x="13907" y="21431"/>
                    </a:lnTo>
                    <a:lnTo>
                      <a:pt x="13907" y="78962"/>
                    </a:lnTo>
                    <a:lnTo>
                      <a:pt x="571" y="78962"/>
                    </a:lnTo>
                    <a:lnTo>
                      <a:pt x="571" y="2152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1" name="Freihandform: Form 150">
                <a:extLst>
                  <a:ext uri="{FF2B5EF4-FFF2-40B4-BE49-F238E27FC236}">
                    <a16:creationId xmlns:a16="http://schemas.microsoft.com/office/drawing/2014/main" id="{33B3EA2F-B462-4E5B-8D83-1BA4AB2FCD69}"/>
                  </a:ext>
                </a:extLst>
              </p:cNvPr>
              <p:cNvSpPr/>
              <p:nvPr/>
            </p:nvSpPr>
            <p:spPr>
              <a:xfrm>
                <a:off x="9891102" y="5311871"/>
                <a:ext cx="50387" cy="58197"/>
              </a:xfrm>
              <a:custGeom>
                <a:avLst/>
                <a:gdLst>
                  <a:gd name="connsiteX0" fmla="*/ 37243 w 50387"/>
                  <a:gd name="connsiteY0" fmla="*/ 58103 h 58197"/>
                  <a:gd name="connsiteX1" fmla="*/ 37243 w 50387"/>
                  <a:gd name="connsiteY1" fmla="*/ 17621 h 58197"/>
                  <a:gd name="connsiteX2" fmla="*/ 37052 w 50387"/>
                  <a:gd name="connsiteY2" fmla="*/ 16859 h 58197"/>
                  <a:gd name="connsiteX3" fmla="*/ 32956 w 50387"/>
                  <a:gd name="connsiteY3" fmla="*/ 12763 h 58197"/>
                  <a:gd name="connsiteX4" fmla="*/ 31909 w 50387"/>
                  <a:gd name="connsiteY4" fmla="*/ 12668 h 58197"/>
                  <a:gd name="connsiteX5" fmla="*/ 22574 w 50387"/>
                  <a:gd name="connsiteY5" fmla="*/ 12668 h 58197"/>
                  <a:gd name="connsiteX6" fmla="*/ 14668 w 50387"/>
                  <a:gd name="connsiteY6" fmla="*/ 18098 h 58197"/>
                  <a:gd name="connsiteX7" fmla="*/ 14668 w 50387"/>
                  <a:gd name="connsiteY7" fmla="*/ 58198 h 58197"/>
                  <a:gd name="connsiteX8" fmla="*/ 1333 w 50387"/>
                  <a:gd name="connsiteY8" fmla="*/ 58198 h 58197"/>
                  <a:gd name="connsiteX9" fmla="*/ 1333 w 50387"/>
                  <a:gd name="connsiteY9" fmla="*/ 12478 h 58197"/>
                  <a:gd name="connsiteX10" fmla="*/ 0 w 50387"/>
                  <a:gd name="connsiteY10" fmla="*/ 667 h 58197"/>
                  <a:gd name="connsiteX11" fmla="*/ 13240 w 50387"/>
                  <a:gd name="connsiteY11" fmla="*/ 667 h 58197"/>
                  <a:gd name="connsiteX12" fmla="*/ 13716 w 50387"/>
                  <a:gd name="connsiteY12" fmla="*/ 3715 h 58197"/>
                  <a:gd name="connsiteX13" fmla="*/ 22098 w 50387"/>
                  <a:gd name="connsiteY13" fmla="*/ 0 h 58197"/>
                  <a:gd name="connsiteX14" fmla="*/ 31909 w 50387"/>
                  <a:gd name="connsiteY14" fmla="*/ 0 h 58197"/>
                  <a:gd name="connsiteX15" fmla="*/ 41624 w 50387"/>
                  <a:gd name="connsiteY15" fmla="*/ 2953 h 58197"/>
                  <a:gd name="connsiteX16" fmla="*/ 48006 w 50387"/>
                  <a:gd name="connsiteY16" fmla="*/ 9335 h 58197"/>
                  <a:gd name="connsiteX17" fmla="*/ 50387 w 50387"/>
                  <a:gd name="connsiteY17" fmla="*/ 17431 h 58197"/>
                  <a:gd name="connsiteX18" fmla="*/ 50387 w 50387"/>
                  <a:gd name="connsiteY18" fmla="*/ 58198 h 58197"/>
                  <a:gd name="connsiteX19" fmla="*/ 37052 w 50387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387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052" y="16859"/>
                    </a:cubicBezTo>
                    <a:cubicBezTo>
                      <a:pt x="36290" y="15430"/>
                      <a:pt x="34385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2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1909" y="0"/>
                    </a:lnTo>
                    <a:cubicBezTo>
                      <a:pt x="35242" y="0"/>
                      <a:pt x="38957" y="1048"/>
                      <a:pt x="41624" y="2953"/>
                    </a:cubicBezTo>
                    <a:cubicBezTo>
                      <a:pt x="43625" y="4382"/>
                      <a:pt x="46958" y="7715"/>
                      <a:pt x="48006" y="9335"/>
                    </a:cubicBezTo>
                    <a:cubicBezTo>
                      <a:pt x="49911" y="11906"/>
                      <a:pt x="50387" y="14764"/>
                      <a:pt x="50387" y="17431"/>
                    </a:cubicBezTo>
                    <a:lnTo>
                      <a:pt x="50387" y="58198"/>
                    </a:lnTo>
                    <a:lnTo>
                      <a:pt x="37052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2" name="Freihandform: Form 151">
                <a:extLst>
                  <a:ext uri="{FF2B5EF4-FFF2-40B4-BE49-F238E27FC236}">
                    <a16:creationId xmlns:a16="http://schemas.microsoft.com/office/drawing/2014/main" id="{25A5CAA4-2245-4FD0-9946-1D4731D605FE}"/>
                  </a:ext>
                </a:extLst>
              </p:cNvPr>
              <p:cNvSpPr/>
              <p:nvPr/>
            </p:nvSpPr>
            <p:spPr>
              <a:xfrm>
                <a:off x="9959111" y="5311871"/>
                <a:ext cx="51054" cy="80676"/>
              </a:xfrm>
              <a:custGeom>
                <a:avLst/>
                <a:gdLst>
                  <a:gd name="connsiteX0" fmla="*/ 50101 w 51054"/>
                  <a:gd name="connsiteY0" fmla="*/ 12573 h 80676"/>
                  <a:gd name="connsiteX1" fmla="*/ 50101 w 51054"/>
                  <a:gd name="connsiteY1" fmla="*/ 62960 h 80676"/>
                  <a:gd name="connsiteX2" fmla="*/ 47816 w 51054"/>
                  <a:gd name="connsiteY2" fmla="*/ 71342 h 80676"/>
                  <a:gd name="connsiteX3" fmla="*/ 41434 w 51054"/>
                  <a:gd name="connsiteY3" fmla="*/ 77724 h 80676"/>
                  <a:gd name="connsiteX4" fmla="*/ 31718 w 51054"/>
                  <a:gd name="connsiteY4" fmla="*/ 80677 h 80676"/>
                  <a:gd name="connsiteX5" fmla="*/ 20002 w 51054"/>
                  <a:gd name="connsiteY5" fmla="*/ 80677 h 80676"/>
                  <a:gd name="connsiteX6" fmla="*/ 10382 w 51054"/>
                  <a:gd name="connsiteY6" fmla="*/ 77438 h 80676"/>
                  <a:gd name="connsiteX7" fmla="*/ 1810 w 51054"/>
                  <a:gd name="connsiteY7" fmla="*/ 67628 h 80676"/>
                  <a:gd name="connsiteX8" fmla="*/ 14192 w 51054"/>
                  <a:gd name="connsiteY8" fmla="*/ 63913 h 80676"/>
                  <a:gd name="connsiteX9" fmla="*/ 14573 w 51054"/>
                  <a:gd name="connsiteY9" fmla="*/ 64484 h 80676"/>
                  <a:gd name="connsiteX10" fmla="*/ 19526 w 51054"/>
                  <a:gd name="connsiteY10" fmla="*/ 68104 h 80676"/>
                  <a:gd name="connsiteX11" fmla="*/ 31528 w 51054"/>
                  <a:gd name="connsiteY11" fmla="*/ 68104 h 80676"/>
                  <a:gd name="connsiteX12" fmla="*/ 32290 w 51054"/>
                  <a:gd name="connsiteY12" fmla="*/ 67818 h 80676"/>
                  <a:gd name="connsiteX13" fmla="*/ 36671 w 51054"/>
                  <a:gd name="connsiteY13" fmla="*/ 63722 h 80676"/>
                  <a:gd name="connsiteX14" fmla="*/ 36671 w 51054"/>
                  <a:gd name="connsiteY14" fmla="*/ 55626 h 80676"/>
                  <a:gd name="connsiteX15" fmla="*/ 28766 w 51054"/>
                  <a:gd name="connsiteY15" fmla="*/ 58865 h 80676"/>
                  <a:gd name="connsiteX16" fmla="*/ 18479 w 51054"/>
                  <a:gd name="connsiteY16" fmla="*/ 58865 h 80676"/>
                  <a:gd name="connsiteX17" fmla="*/ 8763 w 51054"/>
                  <a:gd name="connsiteY17" fmla="*/ 55912 h 80676"/>
                  <a:gd name="connsiteX18" fmla="*/ 2381 w 51054"/>
                  <a:gd name="connsiteY18" fmla="*/ 49340 h 80676"/>
                  <a:gd name="connsiteX19" fmla="*/ 0 w 51054"/>
                  <a:gd name="connsiteY19" fmla="*/ 41053 h 80676"/>
                  <a:gd name="connsiteX20" fmla="*/ 0 w 51054"/>
                  <a:gd name="connsiteY20" fmla="*/ 17717 h 80676"/>
                  <a:gd name="connsiteX21" fmla="*/ 2381 w 51054"/>
                  <a:gd name="connsiteY21" fmla="*/ 9430 h 80676"/>
                  <a:gd name="connsiteX22" fmla="*/ 8763 w 51054"/>
                  <a:gd name="connsiteY22" fmla="*/ 2953 h 80676"/>
                  <a:gd name="connsiteX23" fmla="*/ 18479 w 51054"/>
                  <a:gd name="connsiteY23" fmla="*/ 0 h 80676"/>
                  <a:gd name="connsiteX24" fmla="*/ 28766 w 51054"/>
                  <a:gd name="connsiteY24" fmla="*/ 0 h 80676"/>
                  <a:gd name="connsiteX25" fmla="*/ 37529 w 51054"/>
                  <a:gd name="connsiteY25" fmla="*/ 3619 h 80676"/>
                  <a:gd name="connsiteX26" fmla="*/ 37909 w 51054"/>
                  <a:gd name="connsiteY26" fmla="*/ 667 h 80676"/>
                  <a:gd name="connsiteX27" fmla="*/ 51054 w 51054"/>
                  <a:gd name="connsiteY27" fmla="*/ 667 h 80676"/>
                  <a:gd name="connsiteX28" fmla="*/ 49816 w 51054"/>
                  <a:gd name="connsiteY28" fmla="*/ 12668 h 80676"/>
                  <a:gd name="connsiteX29" fmla="*/ 28575 w 51054"/>
                  <a:gd name="connsiteY29" fmla="*/ 46006 h 80676"/>
                  <a:gd name="connsiteX30" fmla="*/ 29527 w 51054"/>
                  <a:gd name="connsiteY30" fmla="*/ 45911 h 80676"/>
                  <a:gd name="connsiteX31" fmla="*/ 36862 w 51054"/>
                  <a:gd name="connsiteY31" fmla="*/ 39910 h 80676"/>
                  <a:gd name="connsiteX32" fmla="*/ 36862 w 51054"/>
                  <a:gd name="connsiteY32" fmla="*/ 18860 h 80676"/>
                  <a:gd name="connsiteX33" fmla="*/ 28575 w 51054"/>
                  <a:gd name="connsiteY33" fmla="*/ 12573 h 80676"/>
                  <a:gd name="connsiteX34" fmla="*/ 18859 w 51054"/>
                  <a:gd name="connsiteY34" fmla="*/ 12573 h 80676"/>
                  <a:gd name="connsiteX35" fmla="*/ 18097 w 51054"/>
                  <a:gd name="connsiteY35" fmla="*/ 12859 h 80676"/>
                  <a:gd name="connsiteX36" fmla="*/ 13716 w 51054"/>
                  <a:gd name="connsiteY36" fmla="*/ 17240 h 80676"/>
                  <a:gd name="connsiteX37" fmla="*/ 13621 w 51054"/>
                  <a:gd name="connsiteY37" fmla="*/ 17907 h 80676"/>
                  <a:gd name="connsiteX38" fmla="*/ 13621 w 51054"/>
                  <a:gd name="connsiteY38" fmla="*/ 40672 h 80676"/>
                  <a:gd name="connsiteX39" fmla="*/ 13716 w 51054"/>
                  <a:gd name="connsiteY39" fmla="*/ 41434 h 80676"/>
                  <a:gd name="connsiteX40" fmla="*/ 18097 w 51054"/>
                  <a:gd name="connsiteY40" fmla="*/ 45815 h 80676"/>
                  <a:gd name="connsiteX41" fmla="*/ 18859 w 51054"/>
                  <a:gd name="connsiteY41" fmla="*/ 45911 h 80676"/>
                  <a:gd name="connsiteX42" fmla="*/ 28575 w 51054"/>
                  <a:gd name="connsiteY42" fmla="*/ 45911 h 80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1054" h="80676">
                    <a:moveTo>
                      <a:pt x="50101" y="12573"/>
                    </a:moveTo>
                    <a:lnTo>
                      <a:pt x="50101" y="62960"/>
                    </a:lnTo>
                    <a:cubicBezTo>
                      <a:pt x="50101" y="65723"/>
                      <a:pt x="49721" y="68866"/>
                      <a:pt x="47816" y="71342"/>
                    </a:cubicBezTo>
                    <a:cubicBezTo>
                      <a:pt x="46768" y="72962"/>
                      <a:pt x="43434" y="76295"/>
                      <a:pt x="41434" y="77724"/>
                    </a:cubicBezTo>
                    <a:cubicBezTo>
                      <a:pt x="38767" y="79629"/>
                      <a:pt x="34862" y="80677"/>
                      <a:pt x="31718" y="80677"/>
                    </a:cubicBezTo>
                    <a:lnTo>
                      <a:pt x="20002" y="80677"/>
                    </a:lnTo>
                    <a:cubicBezTo>
                      <a:pt x="16764" y="80677"/>
                      <a:pt x="12954" y="79248"/>
                      <a:pt x="10382" y="77438"/>
                    </a:cubicBezTo>
                    <a:cubicBezTo>
                      <a:pt x="8192" y="76010"/>
                      <a:pt x="3143" y="70771"/>
                      <a:pt x="1810" y="67628"/>
                    </a:cubicBezTo>
                    <a:lnTo>
                      <a:pt x="14192" y="63913"/>
                    </a:lnTo>
                    <a:cubicBezTo>
                      <a:pt x="14192" y="63913"/>
                      <a:pt x="14383" y="64199"/>
                      <a:pt x="14573" y="64484"/>
                    </a:cubicBezTo>
                    <a:cubicBezTo>
                      <a:pt x="15335" y="65437"/>
                      <a:pt x="18193" y="68104"/>
                      <a:pt x="19526" y="68104"/>
                    </a:cubicBezTo>
                    <a:lnTo>
                      <a:pt x="31528" y="68104"/>
                    </a:lnTo>
                    <a:cubicBezTo>
                      <a:pt x="31528" y="68104"/>
                      <a:pt x="32099" y="68009"/>
                      <a:pt x="32290" y="67818"/>
                    </a:cubicBezTo>
                    <a:cubicBezTo>
                      <a:pt x="33528" y="67151"/>
                      <a:pt x="36576" y="64770"/>
                      <a:pt x="36671" y="63722"/>
                    </a:cubicBezTo>
                    <a:lnTo>
                      <a:pt x="36671" y="55626"/>
                    </a:lnTo>
                    <a:cubicBezTo>
                      <a:pt x="34385" y="57245"/>
                      <a:pt x="31623" y="58865"/>
                      <a:pt x="28766" y="58865"/>
                    </a:cubicBezTo>
                    <a:lnTo>
                      <a:pt x="18479" y="58865"/>
                    </a:lnTo>
                    <a:cubicBezTo>
                      <a:pt x="15240" y="58865"/>
                      <a:pt x="11430" y="57817"/>
                      <a:pt x="8763" y="55912"/>
                    </a:cubicBezTo>
                    <a:cubicBezTo>
                      <a:pt x="6667" y="54483"/>
                      <a:pt x="3429" y="50863"/>
                      <a:pt x="2381" y="49340"/>
                    </a:cubicBezTo>
                    <a:cubicBezTo>
                      <a:pt x="476" y="46768"/>
                      <a:pt x="0" y="43910"/>
                      <a:pt x="0" y="41053"/>
                    </a:cubicBezTo>
                    <a:lnTo>
                      <a:pt x="0" y="17717"/>
                    </a:lnTo>
                    <a:cubicBezTo>
                      <a:pt x="0" y="14954"/>
                      <a:pt x="571" y="12001"/>
                      <a:pt x="2381" y="9430"/>
                    </a:cubicBezTo>
                    <a:cubicBezTo>
                      <a:pt x="3429" y="8001"/>
                      <a:pt x="6667" y="4382"/>
                      <a:pt x="8763" y="2953"/>
                    </a:cubicBezTo>
                    <a:cubicBezTo>
                      <a:pt x="11430" y="1048"/>
                      <a:pt x="15240" y="0"/>
                      <a:pt x="18479" y="0"/>
                    </a:cubicBezTo>
                    <a:lnTo>
                      <a:pt x="28766" y="0"/>
                    </a:lnTo>
                    <a:cubicBezTo>
                      <a:pt x="32004" y="0"/>
                      <a:pt x="35147" y="1714"/>
                      <a:pt x="37529" y="3619"/>
                    </a:cubicBezTo>
                    <a:lnTo>
                      <a:pt x="37909" y="667"/>
                    </a:lnTo>
                    <a:lnTo>
                      <a:pt x="51054" y="667"/>
                    </a:lnTo>
                    <a:lnTo>
                      <a:pt x="49816" y="12668"/>
                    </a:lnTo>
                    <a:close/>
                    <a:moveTo>
                      <a:pt x="28575" y="46006"/>
                    </a:moveTo>
                    <a:cubicBezTo>
                      <a:pt x="28575" y="46006"/>
                      <a:pt x="29242" y="46006"/>
                      <a:pt x="29527" y="45911"/>
                    </a:cubicBezTo>
                    <a:cubicBezTo>
                      <a:pt x="31909" y="44672"/>
                      <a:pt x="35147" y="41910"/>
                      <a:pt x="36862" y="39910"/>
                    </a:cubicBezTo>
                    <a:lnTo>
                      <a:pt x="36862" y="18860"/>
                    </a:lnTo>
                    <a:cubicBezTo>
                      <a:pt x="34957" y="16859"/>
                      <a:pt x="30575" y="12573"/>
                      <a:pt x="28575" y="12573"/>
                    </a:cubicBezTo>
                    <a:lnTo>
                      <a:pt x="18859" y="12573"/>
                    </a:lnTo>
                    <a:cubicBezTo>
                      <a:pt x="18859" y="12573"/>
                      <a:pt x="18288" y="12668"/>
                      <a:pt x="18097" y="12859"/>
                    </a:cubicBezTo>
                    <a:cubicBezTo>
                      <a:pt x="16669" y="13811"/>
                      <a:pt x="14573" y="15621"/>
                      <a:pt x="13716" y="17240"/>
                    </a:cubicBezTo>
                    <a:cubicBezTo>
                      <a:pt x="13621" y="17526"/>
                      <a:pt x="13621" y="17907"/>
                      <a:pt x="13621" y="17907"/>
                    </a:cubicBezTo>
                    <a:lnTo>
                      <a:pt x="13621" y="40672"/>
                    </a:lnTo>
                    <a:cubicBezTo>
                      <a:pt x="13621" y="40672"/>
                      <a:pt x="13621" y="41243"/>
                      <a:pt x="13716" y="41434"/>
                    </a:cubicBezTo>
                    <a:cubicBezTo>
                      <a:pt x="14668" y="43053"/>
                      <a:pt x="16669" y="44863"/>
                      <a:pt x="18097" y="45815"/>
                    </a:cubicBezTo>
                    <a:cubicBezTo>
                      <a:pt x="18383" y="45911"/>
                      <a:pt x="18764" y="45911"/>
                      <a:pt x="18859" y="45911"/>
                    </a:cubicBezTo>
                    <a:lnTo>
                      <a:pt x="28575" y="45911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3" name="Freihandform: Form 152">
                <a:extLst>
                  <a:ext uri="{FF2B5EF4-FFF2-40B4-BE49-F238E27FC236}">
                    <a16:creationId xmlns:a16="http://schemas.microsoft.com/office/drawing/2014/main" id="{5FE3C57C-4268-4B4A-BD1F-206EBD88D02B}"/>
                  </a:ext>
                </a:extLst>
              </p:cNvPr>
              <p:cNvSpPr/>
              <p:nvPr/>
            </p:nvSpPr>
            <p:spPr>
              <a:xfrm>
                <a:off x="10029595" y="5311776"/>
                <a:ext cx="49434" cy="58864"/>
              </a:xfrm>
              <a:custGeom>
                <a:avLst/>
                <a:gdLst>
                  <a:gd name="connsiteX0" fmla="*/ 13430 w 49434"/>
                  <a:gd name="connsiteY0" fmla="*/ 36195 h 58864"/>
                  <a:gd name="connsiteX1" fmla="*/ 13430 w 49434"/>
                  <a:gd name="connsiteY1" fmla="*/ 41243 h 58864"/>
                  <a:gd name="connsiteX2" fmla="*/ 13525 w 49434"/>
                  <a:gd name="connsiteY2" fmla="*/ 41910 h 58864"/>
                  <a:gd name="connsiteX3" fmla="*/ 18764 w 49434"/>
                  <a:gd name="connsiteY3" fmla="*/ 46196 h 58864"/>
                  <a:gd name="connsiteX4" fmla="*/ 31718 w 49434"/>
                  <a:gd name="connsiteY4" fmla="*/ 46196 h 58864"/>
                  <a:gd name="connsiteX5" fmla="*/ 36671 w 49434"/>
                  <a:gd name="connsiteY5" fmla="*/ 42767 h 58864"/>
                  <a:gd name="connsiteX6" fmla="*/ 37052 w 49434"/>
                  <a:gd name="connsiteY6" fmla="*/ 42196 h 58864"/>
                  <a:gd name="connsiteX7" fmla="*/ 49435 w 49434"/>
                  <a:gd name="connsiteY7" fmla="*/ 45911 h 58864"/>
                  <a:gd name="connsiteX8" fmla="*/ 40862 w 49434"/>
                  <a:gd name="connsiteY8" fmla="*/ 55817 h 58864"/>
                  <a:gd name="connsiteX9" fmla="*/ 31242 w 49434"/>
                  <a:gd name="connsiteY9" fmla="*/ 58865 h 58864"/>
                  <a:gd name="connsiteX10" fmla="*/ 18669 w 49434"/>
                  <a:gd name="connsiteY10" fmla="*/ 58865 h 58864"/>
                  <a:gd name="connsiteX11" fmla="*/ 8954 w 49434"/>
                  <a:gd name="connsiteY11" fmla="*/ 56102 h 58864"/>
                  <a:gd name="connsiteX12" fmla="*/ 2572 w 49434"/>
                  <a:gd name="connsiteY12" fmla="*/ 49720 h 58864"/>
                  <a:gd name="connsiteX13" fmla="*/ 0 w 49434"/>
                  <a:gd name="connsiteY13" fmla="*/ 41434 h 58864"/>
                  <a:gd name="connsiteX14" fmla="*/ 0 w 49434"/>
                  <a:gd name="connsiteY14" fmla="*/ 17431 h 58864"/>
                  <a:gd name="connsiteX15" fmla="*/ 2572 w 49434"/>
                  <a:gd name="connsiteY15" fmla="*/ 9335 h 58864"/>
                  <a:gd name="connsiteX16" fmla="*/ 8954 w 49434"/>
                  <a:gd name="connsiteY16" fmla="*/ 2953 h 58864"/>
                  <a:gd name="connsiteX17" fmla="*/ 18669 w 49434"/>
                  <a:gd name="connsiteY17" fmla="*/ 0 h 58864"/>
                  <a:gd name="connsiteX18" fmla="*/ 30956 w 49434"/>
                  <a:gd name="connsiteY18" fmla="*/ 0 h 58864"/>
                  <a:gd name="connsiteX19" fmla="*/ 40672 w 49434"/>
                  <a:gd name="connsiteY19" fmla="*/ 2953 h 58864"/>
                  <a:gd name="connsiteX20" fmla="*/ 47054 w 49434"/>
                  <a:gd name="connsiteY20" fmla="*/ 9335 h 58864"/>
                  <a:gd name="connsiteX21" fmla="*/ 49435 w 49434"/>
                  <a:gd name="connsiteY21" fmla="*/ 17431 h 58864"/>
                  <a:gd name="connsiteX22" fmla="*/ 49435 w 49434"/>
                  <a:gd name="connsiteY22" fmla="*/ 36195 h 58864"/>
                  <a:gd name="connsiteX23" fmla="*/ 13335 w 49434"/>
                  <a:gd name="connsiteY23" fmla="*/ 36195 h 58864"/>
                  <a:gd name="connsiteX24" fmla="*/ 36195 w 49434"/>
                  <a:gd name="connsiteY24" fmla="*/ 17717 h 58864"/>
                  <a:gd name="connsiteX25" fmla="*/ 36100 w 49434"/>
                  <a:gd name="connsiteY25" fmla="*/ 16955 h 58864"/>
                  <a:gd name="connsiteX26" fmla="*/ 31718 w 49434"/>
                  <a:gd name="connsiteY26" fmla="*/ 12859 h 58864"/>
                  <a:gd name="connsiteX27" fmla="*/ 30861 w 49434"/>
                  <a:gd name="connsiteY27" fmla="*/ 12763 h 58864"/>
                  <a:gd name="connsiteX28" fmla="*/ 18764 w 49434"/>
                  <a:gd name="connsiteY28" fmla="*/ 12763 h 58864"/>
                  <a:gd name="connsiteX29" fmla="*/ 13525 w 49434"/>
                  <a:gd name="connsiteY29" fmla="*/ 17050 h 58864"/>
                  <a:gd name="connsiteX30" fmla="*/ 13430 w 49434"/>
                  <a:gd name="connsiteY30" fmla="*/ 17812 h 58864"/>
                  <a:gd name="connsiteX31" fmla="*/ 13430 w 49434"/>
                  <a:gd name="connsiteY31" fmla="*/ 23813 h 58864"/>
                  <a:gd name="connsiteX32" fmla="*/ 36195 w 49434"/>
                  <a:gd name="connsiteY32" fmla="*/ 23813 h 58864"/>
                  <a:gd name="connsiteX33" fmla="*/ 36195 w 49434"/>
                  <a:gd name="connsiteY33" fmla="*/ 17812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9434" h="58864">
                    <a:moveTo>
                      <a:pt x="13430" y="36195"/>
                    </a:moveTo>
                    <a:lnTo>
                      <a:pt x="13430" y="41243"/>
                    </a:lnTo>
                    <a:cubicBezTo>
                      <a:pt x="13430" y="41243"/>
                      <a:pt x="13525" y="41910"/>
                      <a:pt x="13525" y="41910"/>
                    </a:cubicBezTo>
                    <a:cubicBezTo>
                      <a:pt x="14764" y="43910"/>
                      <a:pt x="17431" y="46196"/>
                      <a:pt x="18764" y="46196"/>
                    </a:cubicBezTo>
                    <a:lnTo>
                      <a:pt x="31718" y="46196"/>
                    </a:lnTo>
                    <a:cubicBezTo>
                      <a:pt x="33052" y="46196"/>
                      <a:pt x="35814" y="43625"/>
                      <a:pt x="36671" y="42767"/>
                    </a:cubicBezTo>
                    <a:cubicBezTo>
                      <a:pt x="36862" y="42672"/>
                      <a:pt x="37052" y="42196"/>
                      <a:pt x="37052" y="42196"/>
                    </a:cubicBezTo>
                    <a:lnTo>
                      <a:pt x="49435" y="45911"/>
                    </a:lnTo>
                    <a:cubicBezTo>
                      <a:pt x="48101" y="49149"/>
                      <a:pt x="43053" y="54293"/>
                      <a:pt x="40862" y="55817"/>
                    </a:cubicBezTo>
                    <a:cubicBezTo>
                      <a:pt x="38291" y="57531"/>
                      <a:pt x="34481" y="58865"/>
                      <a:pt x="31242" y="58865"/>
                    </a:cubicBezTo>
                    <a:lnTo>
                      <a:pt x="18669" y="58865"/>
                    </a:lnTo>
                    <a:cubicBezTo>
                      <a:pt x="15335" y="58865"/>
                      <a:pt x="11621" y="57912"/>
                      <a:pt x="8954" y="56102"/>
                    </a:cubicBezTo>
                    <a:cubicBezTo>
                      <a:pt x="6953" y="54674"/>
                      <a:pt x="3620" y="51149"/>
                      <a:pt x="2572" y="49720"/>
                    </a:cubicBezTo>
                    <a:cubicBezTo>
                      <a:pt x="857" y="47339"/>
                      <a:pt x="0" y="44387"/>
                      <a:pt x="0" y="41434"/>
                    </a:cubicBezTo>
                    <a:lnTo>
                      <a:pt x="0" y="17431"/>
                    </a:lnTo>
                    <a:cubicBezTo>
                      <a:pt x="0" y="14478"/>
                      <a:pt x="762" y="11716"/>
                      <a:pt x="2572" y="9335"/>
                    </a:cubicBezTo>
                    <a:cubicBezTo>
                      <a:pt x="3620" y="7906"/>
                      <a:pt x="6953" y="4382"/>
                      <a:pt x="8954" y="2953"/>
                    </a:cubicBezTo>
                    <a:cubicBezTo>
                      <a:pt x="11621" y="1048"/>
                      <a:pt x="15335" y="0"/>
                      <a:pt x="18669" y="0"/>
                    </a:cubicBezTo>
                    <a:lnTo>
                      <a:pt x="30956" y="0"/>
                    </a:lnTo>
                    <a:cubicBezTo>
                      <a:pt x="34290" y="0"/>
                      <a:pt x="38005" y="1048"/>
                      <a:pt x="40672" y="2953"/>
                    </a:cubicBezTo>
                    <a:cubicBezTo>
                      <a:pt x="42672" y="4382"/>
                      <a:pt x="46006" y="7715"/>
                      <a:pt x="47054" y="9335"/>
                    </a:cubicBezTo>
                    <a:cubicBezTo>
                      <a:pt x="48863" y="11906"/>
                      <a:pt x="49435" y="14764"/>
                      <a:pt x="49435" y="17431"/>
                    </a:cubicBezTo>
                    <a:lnTo>
                      <a:pt x="49435" y="36195"/>
                    </a:lnTo>
                    <a:lnTo>
                      <a:pt x="13335" y="36195"/>
                    </a:lnTo>
                    <a:close/>
                    <a:moveTo>
                      <a:pt x="36195" y="17717"/>
                    </a:moveTo>
                    <a:cubicBezTo>
                      <a:pt x="36195" y="17717"/>
                      <a:pt x="36195" y="17050"/>
                      <a:pt x="36100" y="16955"/>
                    </a:cubicBezTo>
                    <a:cubicBezTo>
                      <a:pt x="35242" y="15621"/>
                      <a:pt x="33338" y="13716"/>
                      <a:pt x="31718" y="12859"/>
                    </a:cubicBezTo>
                    <a:cubicBezTo>
                      <a:pt x="31433" y="12763"/>
                      <a:pt x="31147" y="12763"/>
                      <a:pt x="30861" y="12763"/>
                    </a:cubicBezTo>
                    <a:lnTo>
                      <a:pt x="18764" y="12763"/>
                    </a:lnTo>
                    <a:cubicBezTo>
                      <a:pt x="17431" y="12763"/>
                      <a:pt x="14764" y="15050"/>
                      <a:pt x="13525" y="17050"/>
                    </a:cubicBezTo>
                    <a:cubicBezTo>
                      <a:pt x="13430" y="17336"/>
                      <a:pt x="13430" y="17812"/>
                      <a:pt x="13430" y="17812"/>
                    </a:cubicBezTo>
                    <a:lnTo>
                      <a:pt x="13430" y="23813"/>
                    </a:lnTo>
                    <a:lnTo>
                      <a:pt x="36195" y="23813"/>
                    </a:lnTo>
                    <a:lnTo>
                      <a:pt x="36195" y="1781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6C88D24A-C4EE-4B31-A2BD-E38C4615D7F7}"/>
                  </a:ext>
                </a:extLst>
              </p:cNvPr>
              <p:cNvSpPr/>
              <p:nvPr/>
            </p:nvSpPr>
            <p:spPr>
              <a:xfrm>
                <a:off x="10095128" y="5311871"/>
                <a:ext cx="50482" cy="58197"/>
              </a:xfrm>
              <a:custGeom>
                <a:avLst/>
                <a:gdLst>
                  <a:gd name="connsiteX0" fmla="*/ 37243 w 50482"/>
                  <a:gd name="connsiteY0" fmla="*/ 58103 h 58197"/>
                  <a:gd name="connsiteX1" fmla="*/ 37243 w 50482"/>
                  <a:gd name="connsiteY1" fmla="*/ 17621 h 58197"/>
                  <a:gd name="connsiteX2" fmla="*/ 37147 w 50482"/>
                  <a:gd name="connsiteY2" fmla="*/ 16859 h 58197"/>
                  <a:gd name="connsiteX3" fmla="*/ 32956 w 50482"/>
                  <a:gd name="connsiteY3" fmla="*/ 12763 h 58197"/>
                  <a:gd name="connsiteX4" fmla="*/ 31909 w 50482"/>
                  <a:gd name="connsiteY4" fmla="*/ 12668 h 58197"/>
                  <a:gd name="connsiteX5" fmla="*/ 22574 w 50482"/>
                  <a:gd name="connsiteY5" fmla="*/ 12668 h 58197"/>
                  <a:gd name="connsiteX6" fmla="*/ 14668 w 50482"/>
                  <a:gd name="connsiteY6" fmla="*/ 18098 h 58197"/>
                  <a:gd name="connsiteX7" fmla="*/ 14668 w 50482"/>
                  <a:gd name="connsiteY7" fmla="*/ 58198 h 58197"/>
                  <a:gd name="connsiteX8" fmla="*/ 1333 w 50482"/>
                  <a:gd name="connsiteY8" fmla="*/ 58198 h 58197"/>
                  <a:gd name="connsiteX9" fmla="*/ 1333 w 50482"/>
                  <a:gd name="connsiteY9" fmla="*/ 12478 h 58197"/>
                  <a:gd name="connsiteX10" fmla="*/ 0 w 50482"/>
                  <a:gd name="connsiteY10" fmla="*/ 667 h 58197"/>
                  <a:gd name="connsiteX11" fmla="*/ 13240 w 50482"/>
                  <a:gd name="connsiteY11" fmla="*/ 667 h 58197"/>
                  <a:gd name="connsiteX12" fmla="*/ 13716 w 50482"/>
                  <a:gd name="connsiteY12" fmla="*/ 3715 h 58197"/>
                  <a:gd name="connsiteX13" fmla="*/ 22098 w 50482"/>
                  <a:gd name="connsiteY13" fmla="*/ 0 h 58197"/>
                  <a:gd name="connsiteX14" fmla="*/ 32004 w 50482"/>
                  <a:gd name="connsiteY14" fmla="*/ 0 h 58197"/>
                  <a:gd name="connsiteX15" fmla="*/ 41720 w 50482"/>
                  <a:gd name="connsiteY15" fmla="*/ 2953 h 58197"/>
                  <a:gd name="connsiteX16" fmla="*/ 48101 w 50482"/>
                  <a:gd name="connsiteY16" fmla="*/ 9335 h 58197"/>
                  <a:gd name="connsiteX17" fmla="*/ 50483 w 50482"/>
                  <a:gd name="connsiteY17" fmla="*/ 17431 h 58197"/>
                  <a:gd name="connsiteX18" fmla="*/ 50483 w 50482"/>
                  <a:gd name="connsiteY18" fmla="*/ 58198 h 58197"/>
                  <a:gd name="connsiteX19" fmla="*/ 37147 w 50482"/>
                  <a:gd name="connsiteY19" fmla="*/ 58198 h 58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0482" h="58197">
                    <a:moveTo>
                      <a:pt x="37243" y="58103"/>
                    </a:moveTo>
                    <a:lnTo>
                      <a:pt x="37243" y="17621"/>
                    </a:lnTo>
                    <a:cubicBezTo>
                      <a:pt x="37243" y="17621"/>
                      <a:pt x="37243" y="17050"/>
                      <a:pt x="37147" y="16859"/>
                    </a:cubicBezTo>
                    <a:cubicBezTo>
                      <a:pt x="36385" y="15430"/>
                      <a:pt x="34480" y="13621"/>
                      <a:pt x="32956" y="12763"/>
                    </a:cubicBezTo>
                    <a:cubicBezTo>
                      <a:pt x="32861" y="12668"/>
                      <a:pt x="32290" y="12668"/>
                      <a:pt x="31909" y="12668"/>
                    </a:cubicBezTo>
                    <a:lnTo>
                      <a:pt x="22574" y="12668"/>
                    </a:lnTo>
                    <a:cubicBezTo>
                      <a:pt x="20003" y="12668"/>
                      <a:pt x="16383" y="16288"/>
                      <a:pt x="14668" y="18098"/>
                    </a:cubicBezTo>
                    <a:lnTo>
                      <a:pt x="14668" y="58198"/>
                    </a:lnTo>
                    <a:lnTo>
                      <a:pt x="1333" y="58198"/>
                    </a:lnTo>
                    <a:lnTo>
                      <a:pt x="1333" y="12478"/>
                    </a:lnTo>
                    <a:lnTo>
                      <a:pt x="0" y="667"/>
                    </a:lnTo>
                    <a:lnTo>
                      <a:pt x="13240" y="667"/>
                    </a:lnTo>
                    <a:lnTo>
                      <a:pt x="13716" y="3715"/>
                    </a:lnTo>
                    <a:cubicBezTo>
                      <a:pt x="16097" y="2000"/>
                      <a:pt x="19050" y="0"/>
                      <a:pt x="22098" y="0"/>
                    </a:cubicBezTo>
                    <a:lnTo>
                      <a:pt x="32004" y="0"/>
                    </a:lnTo>
                    <a:cubicBezTo>
                      <a:pt x="35338" y="0"/>
                      <a:pt x="39053" y="1048"/>
                      <a:pt x="41720" y="2953"/>
                    </a:cubicBezTo>
                    <a:cubicBezTo>
                      <a:pt x="43720" y="4382"/>
                      <a:pt x="47054" y="7715"/>
                      <a:pt x="48101" y="9335"/>
                    </a:cubicBezTo>
                    <a:cubicBezTo>
                      <a:pt x="49911" y="11906"/>
                      <a:pt x="50483" y="14764"/>
                      <a:pt x="50483" y="17431"/>
                    </a:cubicBezTo>
                    <a:lnTo>
                      <a:pt x="50483" y="58198"/>
                    </a:lnTo>
                    <a:lnTo>
                      <a:pt x="37147" y="5819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5" name="Freihandform: Form 154">
                <a:extLst>
                  <a:ext uri="{FF2B5EF4-FFF2-40B4-BE49-F238E27FC236}">
                    <a16:creationId xmlns:a16="http://schemas.microsoft.com/office/drawing/2014/main" id="{6A994688-D378-466B-9914-D16C6E1104E2}"/>
                  </a:ext>
                </a:extLst>
              </p:cNvPr>
              <p:cNvSpPr/>
              <p:nvPr/>
            </p:nvSpPr>
            <p:spPr>
              <a:xfrm>
                <a:off x="8876118" y="5439411"/>
                <a:ext cx="50958" cy="67913"/>
              </a:xfrm>
              <a:custGeom>
                <a:avLst/>
                <a:gdLst>
                  <a:gd name="connsiteX0" fmla="*/ 40862 w 50958"/>
                  <a:gd name="connsiteY0" fmla="*/ 67913 h 67913"/>
                  <a:gd name="connsiteX1" fmla="*/ 24670 w 50958"/>
                  <a:gd name="connsiteY1" fmla="*/ 39624 h 67913"/>
                  <a:gd name="connsiteX2" fmla="*/ 9239 w 50958"/>
                  <a:gd name="connsiteY2" fmla="*/ 39624 h 67913"/>
                  <a:gd name="connsiteX3" fmla="*/ 9239 w 50958"/>
                  <a:gd name="connsiteY3" fmla="*/ 67913 h 67913"/>
                  <a:gd name="connsiteX4" fmla="*/ 0 w 50958"/>
                  <a:gd name="connsiteY4" fmla="*/ 67913 h 67913"/>
                  <a:gd name="connsiteX5" fmla="*/ 0 w 50958"/>
                  <a:gd name="connsiteY5" fmla="*/ 0 h 67913"/>
                  <a:gd name="connsiteX6" fmla="*/ 31909 w 50958"/>
                  <a:gd name="connsiteY6" fmla="*/ 0 h 67913"/>
                  <a:gd name="connsiteX7" fmla="*/ 39529 w 50958"/>
                  <a:gd name="connsiteY7" fmla="*/ 2381 h 67913"/>
                  <a:gd name="connsiteX8" fmla="*/ 45529 w 50958"/>
                  <a:gd name="connsiteY8" fmla="*/ 8382 h 67913"/>
                  <a:gd name="connsiteX9" fmla="*/ 47434 w 50958"/>
                  <a:gd name="connsiteY9" fmla="*/ 14859 h 67913"/>
                  <a:gd name="connsiteX10" fmla="*/ 47434 w 50958"/>
                  <a:gd name="connsiteY10" fmla="*/ 25051 h 67913"/>
                  <a:gd name="connsiteX11" fmla="*/ 45529 w 50958"/>
                  <a:gd name="connsiteY11" fmla="*/ 31432 h 67913"/>
                  <a:gd name="connsiteX12" fmla="*/ 39529 w 50958"/>
                  <a:gd name="connsiteY12" fmla="*/ 37433 h 67913"/>
                  <a:gd name="connsiteX13" fmla="*/ 34195 w 50958"/>
                  <a:gd name="connsiteY13" fmla="*/ 39433 h 67913"/>
                  <a:gd name="connsiteX14" fmla="*/ 50959 w 50958"/>
                  <a:gd name="connsiteY14" fmla="*/ 67913 h 67913"/>
                  <a:gd name="connsiteX15" fmla="*/ 40862 w 50958"/>
                  <a:gd name="connsiteY15" fmla="*/ 67913 h 67913"/>
                  <a:gd name="connsiteX16" fmla="*/ 38195 w 50958"/>
                  <a:gd name="connsiteY16" fmla="*/ 15049 h 67913"/>
                  <a:gd name="connsiteX17" fmla="*/ 38100 w 50958"/>
                  <a:gd name="connsiteY17" fmla="*/ 13811 h 67913"/>
                  <a:gd name="connsiteX18" fmla="*/ 32575 w 50958"/>
                  <a:gd name="connsiteY18" fmla="*/ 8858 h 67913"/>
                  <a:gd name="connsiteX19" fmla="*/ 9430 w 50958"/>
                  <a:gd name="connsiteY19" fmla="*/ 8858 h 67913"/>
                  <a:gd name="connsiteX20" fmla="*/ 9430 w 50958"/>
                  <a:gd name="connsiteY20" fmla="*/ 30766 h 67913"/>
                  <a:gd name="connsiteX21" fmla="*/ 31909 w 50958"/>
                  <a:gd name="connsiteY21" fmla="*/ 30766 h 67913"/>
                  <a:gd name="connsiteX22" fmla="*/ 38100 w 50958"/>
                  <a:gd name="connsiteY22" fmla="*/ 26003 h 67913"/>
                  <a:gd name="connsiteX23" fmla="*/ 38195 w 50958"/>
                  <a:gd name="connsiteY23" fmla="*/ 24765 h 67913"/>
                  <a:gd name="connsiteX24" fmla="*/ 38195 w 50958"/>
                  <a:gd name="connsiteY24" fmla="*/ 15049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0958" h="67913">
                    <a:moveTo>
                      <a:pt x="40862" y="67913"/>
                    </a:moveTo>
                    <a:lnTo>
                      <a:pt x="24670" y="39624"/>
                    </a:lnTo>
                    <a:lnTo>
                      <a:pt x="9239" y="39624"/>
                    </a:lnTo>
                    <a:lnTo>
                      <a:pt x="9239" y="67913"/>
                    </a:lnTo>
                    <a:lnTo>
                      <a:pt x="0" y="67913"/>
                    </a:lnTo>
                    <a:lnTo>
                      <a:pt x="0" y="0"/>
                    </a:lnTo>
                    <a:lnTo>
                      <a:pt x="31909" y="0"/>
                    </a:lnTo>
                    <a:cubicBezTo>
                      <a:pt x="34480" y="0"/>
                      <a:pt x="37433" y="857"/>
                      <a:pt x="39529" y="2381"/>
                    </a:cubicBezTo>
                    <a:cubicBezTo>
                      <a:pt x="41148" y="3524"/>
                      <a:pt x="44577" y="7048"/>
                      <a:pt x="45529" y="8382"/>
                    </a:cubicBezTo>
                    <a:cubicBezTo>
                      <a:pt x="46768" y="10287"/>
                      <a:pt x="47434" y="12573"/>
                      <a:pt x="47434" y="14859"/>
                    </a:cubicBezTo>
                    <a:lnTo>
                      <a:pt x="47434" y="25051"/>
                    </a:lnTo>
                    <a:cubicBezTo>
                      <a:pt x="47434" y="27337"/>
                      <a:pt x="46768" y="29432"/>
                      <a:pt x="45529" y="31432"/>
                    </a:cubicBezTo>
                    <a:cubicBezTo>
                      <a:pt x="44577" y="32766"/>
                      <a:pt x="41148" y="36290"/>
                      <a:pt x="39529" y="37433"/>
                    </a:cubicBezTo>
                    <a:cubicBezTo>
                      <a:pt x="38195" y="38481"/>
                      <a:pt x="35814" y="39624"/>
                      <a:pt x="34195" y="39433"/>
                    </a:cubicBezTo>
                    <a:lnTo>
                      <a:pt x="50959" y="67913"/>
                    </a:lnTo>
                    <a:lnTo>
                      <a:pt x="40862" y="67913"/>
                    </a:lnTo>
                    <a:close/>
                    <a:moveTo>
                      <a:pt x="38195" y="15049"/>
                    </a:moveTo>
                    <a:cubicBezTo>
                      <a:pt x="38195" y="15049"/>
                      <a:pt x="38195" y="13906"/>
                      <a:pt x="38100" y="13811"/>
                    </a:cubicBezTo>
                    <a:cubicBezTo>
                      <a:pt x="37433" y="12573"/>
                      <a:pt x="34099" y="8954"/>
                      <a:pt x="32575" y="8858"/>
                    </a:cubicBezTo>
                    <a:lnTo>
                      <a:pt x="9430" y="8858"/>
                    </a:lnTo>
                    <a:lnTo>
                      <a:pt x="9430" y="30766"/>
                    </a:lnTo>
                    <a:lnTo>
                      <a:pt x="31909" y="30766"/>
                    </a:lnTo>
                    <a:cubicBezTo>
                      <a:pt x="33909" y="30766"/>
                      <a:pt x="37243" y="27622"/>
                      <a:pt x="38100" y="26003"/>
                    </a:cubicBezTo>
                    <a:cubicBezTo>
                      <a:pt x="38195" y="25908"/>
                      <a:pt x="38195" y="24956"/>
                      <a:pt x="38195" y="24765"/>
                    </a:cubicBezTo>
                    <a:lnTo>
                      <a:pt x="38195" y="1504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6" name="Freihandform: Form 155">
                <a:extLst>
                  <a:ext uri="{FF2B5EF4-FFF2-40B4-BE49-F238E27FC236}">
                    <a16:creationId xmlns:a16="http://schemas.microsoft.com/office/drawing/2014/main" id="{AED54C7B-6BB2-4399-8BBB-38F969853D60}"/>
                  </a:ext>
                </a:extLst>
              </p:cNvPr>
              <p:cNvSpPr/>
              <p:nvPr/>
            </p:nvSpPr>
            <p:spPr>
              <a:xfrm>
                <a:off x="8938792" y="5457889"/>
                <a:ext cx="41910" cy="50006"/>
              </a:xfrm>
              <a:custGeom>
                <a:avLst/>
                <a:gdLst>
                  <a:gd name="connsiteX0" fmla="*/ 34385 w 41910"/>
                  <a:gd name="connsiteY0" fmla="*/ 47720 h 50006"/>
                  <a:gd name="connsiteX1" fmla="*/ 26670 w 41910"/>
                  <a:gd name="connsiteY1" fmla="*/ 50006 h 50006"/>
                  <a:gd name="connsiteX2" fmla="*/ 15145 w 41910"/>
                  <a:gd name="connsiteY2" fmla="*/ 50006 h 50006"/>
                  <a:gd name="connsiteX3" fmla="*/ 7334 w 41910"/>
                  <a:gd name="connsiteY3" fmla="*/ 47720 h 50006"/>
                  <a:gd name="connsiteX4" fmla="*/ 1905 w 41910"/>
                  <a:gd name="connsiteY4" fmla="*/ 42291 h 50006"/>
                  <a:gd name="connsiteX5" fmla="*/ 0 w 41910"/>
                  <a:gd name="connsiteY5" fmla="*/ 35814 h 50006"/>
                  <a:gd name="connsiteX6" fmla="*/ 0 w 41910"/>
                  <a:gd name="connsiteY6" fmla="*/ 14192 h 50006"/>
                  <a:gd name="connsiteX7" fmla="*/ 1905 w 41910"/>
                  <a:gd name="connsiteY7" fmla="*/ 7715 h 50006"/>
                  <a:gd name="connsiteX8" fmla="*/ 7334 w 41910"/>
                  <a:gd name="connsiteY8" fmla="*/ 2286 h 50006"/>
                  <a:gd name="connsiteX9" fmla="*/ 15145 w 41910"/>
                  <a:gd name="connsiteY9" fmla="*/ 0 h 50006"/>
                  <a:gd name="connsiteX10" fmla="*/ 26479 w 41910"/>
                  <a:gd name="connsiteY10" fmla="*/ 0 h 50006"/>
                  <a:gd name="connsiteX11" fmla="*/ 34290 w 41910"/>
                  <a:gd name="connsiteY11" fmla="*/ 2286 h 50006"/>
                  <a:gd name="connsiteX12" fmla="*/ 39719 w 41910"/>
                  <a:gd name="connsiteY12" fmla="*/ 7715 h 50006"/>
                  <a:gd name="connsiteX13" fmla="*/ 41529 w 41910"/>
                  <a:gd name="connsiteY13" fmla="*/ 14192 h 50006"/>
                  <a:gd name="connsiteX14" fmla="*/ 41529 w 41910"/>
                  <a:gd name="connsiteY14" fmla="*/ 28765 h 50006"/>
                  <a:gd name="connsiteX15" fmla="*/ 8858 w 41910"/>
                  <a:gd name="connsiteY15" fmla="*/ 28765 h 50006"/>
                  <a:gd name="connsiteX16" fmla="*/ 8858 w 41910"/>
                  <a:gd name="connsiteY16" fmla="*/ 35528 h 50006"/>
                  <a:gd name="connsiteX17" fmla="*/ 9049 w 41910"/>
                  <a:gd name="connsiteY17" fmla="*/ 36766 h 50006"/>
                  <a:gd name="connsiteX18" fmla="*/ 15145 w 41910"/>
                  <a:gd name="connsiteY18" fmla="*/ 41624 h 50006"/>
                  <a:gd name="connsiteX19" fmla="*/ 26956 w 41910"/>
                  <a:gd name="connsiteY19" fmla="*/ 41624 h 50006"/>
                  <a:gd name="connsiteX20" fmla="*/ 28289 w 41910"/>
                  <a:gd name="connsiteY20" fmla="*/ 41339 h 50006"/>
                  <a:gd name="connsiteX21" fmla="*/ 32956 w 41910"/>
                  <a:gd name="connsiteY21" fmla="*/ 36766 h 50006"/>
                  <a:gd name="connsiteX22" fmla="*/ 33623 w 41910"/>
                  <a:gd name="connsiteY22" fmla="*/ 35528 h 50006"/>
                  <a:gd name="connsiteX23" fmla="*/ 41910 w 41910"/>
                  <a:gd name="connsiteY23" fmla="*/ 38195 h 50006"/>
                  <a:gd name="connsiteX24" fmla="*/ 34480 w 41910"/>
                  <a:gd name="connsiteY24" fmla="*/ 47625 h 50006"/>
                  <a:gd name="connsiteX25" fmla="*/ 32766 w 41910"/>
                  <a:gd name="connsiteY25" fmla="*/ 14383 h 50006"/>
                  <a:gd name="connsiteX26" fmla="*/ 32671 w 41910"/>
                  <a:gd name="connsiteY26" fmla="*/ 13144 h 50006"/>
                  <a:gd name="connsiteX27" fmla="*/ 27813 w 41910"/>
                  <a:gd name="connsiteY27" fmla="*/ 8572 h 50006"/>
                  <a:gd name="connsiteX28" fmla="*/ 26479 w 41910"/>
                  <a:gd name="connsiteY28" fmla="*/ 8191 h 50006"/>
                  <a:gd name="connsiteX29" fmla="*/ 15240 w 41910"/>
                  <a:gd name="connsiteY29" fmla="*/ 8191 h 50006"/>
                  <a:gd name="connsiteX30" fmla="*/ 9144 w 41910"/>
                  <a:gd name="connsiteY30" fmla="*/ 13049 h 50006"/>
                  <a:gd name="connsiteX31" fmla="*/ 8953 w 41910"/>
                  <a:gd name="connsiteY31" fmla="*/ 14288 h 50006"/>
                  <a:gd name="connsiteX32" fmla="*/ 8953 w 41910"/>
                  <a:gd name="connsiteY32" fmla="*/ 20479 h 50006"/>
                  <a:gd name="connsiteX33" fmla="*/ 32861 w 41910"/>
                  <a:gd name="connsiteY33" fmla="*/ 20479 h 50006"/>
                  <a:gd name="connsiteX34" fmla="*/ 32861 w 41910"/>
                  <a:gd name="connsiteY34" fmla="*/ 14288 h 50006"/>
                  <a:gd name="connsiteX35" fmla="*/ 32861 w 41910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910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430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857" y="6477"/>
                      <a:pt x="5620" y="3524"/>
                      <a:pt x="7334" y="2286"/>
                    </a:cubicBezTo>
                    <a:cubicBezTo>
                      <a:pt x="9334" y="762"/>
                      <a:pt x="12382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910" y="38195"/>
                    </a:lnTo>
                    <a:cubicBezTo>
                      <a:pt x="40481" y="41624"/>
                      <a:pt x="37338" y="45625"/>
                      <a:pt x="34480" y="47625"/>
                    </a:cubicBezTo>
                    <a:moveTo>
                      <a:pt x="32766" y="14383"/>
                    </a:move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525"/>
                      <a:pt x="27813" y="8572"/>
                    </a:cubicBezTo>
                    <a:cubicBezTo>
                      <a:pt x="27527" y="8477"/>
                      <a:pt x="27146" y="8191"/>
                      <a:pt x="26479" y="8191"/>
                    </a:cubicBezTo>
                    <a:lnTo>
                      <a:pt x="15240" y="8191"/>
                    </a:lnTo>
                    <a:cubicBezTo>
                      <a:pt x="13049" y="8191"/>
                      <a:pt x="10001" y="11430"/>
                      <a:pt x="9144" y="13049"/>
                    </a:cubicBezTo>
                    <a:cubicBezTo>
                      <a:pt x="9049" y="13144"/>
                      <a:pt x="8953" y="13621"/>
                      <a:pt x="8953" y="14288"/>
                    </a:cubicBezTo>
                    <a:lnTo>
                      <a:pt x="8953" y="20479"/>
                    </a:lnTo>
                    <a:lnTo>
                      <a:pt x="32861" y="20479"/>
                    </a:lnTo>
                    <a:lnTo>
                      <a:pt x="32861" y="14288"/>
                    </a:lnTo>
                    <a:lnTo>
                      <a:pt x="32861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7" name="Freihandform: Form 156">
                <a:extLst>
                  <a:ext uri="{FF2B5EF4-FFF2-40B4-BE49-F238E27FC236}">
                    <a16:creationId xmlns:a16="http://schemas.microsoft.com/office/drawing/2014/main" id="{3FD96AF3-703B-4FC7-A93C-D9F4C85001B9}"/>
                  </a:ext>
                </a:extLst>
              </p:cNvPr>
              <p:cNvSpPr/>
              <p:nvPr/>
            </p:nvSpPr>
            <p:spPr>
              <a:xfrm>
                <a:off x="8996324" y="5458461"/>
                <a:ext cx="41719" cy="49244"/>
              </a:xfrm>
              <a:custGeom>
                <a:avLst/>
                <a:gdLst>
                  <a:gd name="connsiteX0" fmla="*/ 32861 w 41719"/>
                  <a:gd name="connsiteY0" fmla="*/ 48863 h 49244"/>
                  <a:gd name="connsiteX1" fmla="*/ 32385 w 41719"/>
                  <a:gd name="connsiteY1" fmla="*/ 44863 h 49244"/>
                  <a:gd name="connsiteX2" fmla="*/ 23527 w 41719"/>
                  <a:gd name="connsiteY2" fmla="*/ 49244 h 49244"/>
                  <a:gd name="connsiteX3" fmla="*/ 15049 w 41719"/>
                  <a:gd name="connsiteY3" fmla="*/ 49244 h 49244"/>
                  <a:gd name="connsiteX4" fmla="*/ 7239 w 41719"/>
                  <a:gd name="connsiteY4" fmla="*/ 46958 h 49244"/>
                  <a:gd name="connsiteX5" fmla="*/ 1810 w 41719"/>
                  <a:gd name="connsiteY5" fmla="*/ 41529 h 49244"/>
                  <a:gd name="connsiteX6" fmla="*/ 0 w 41719"/>
                  <a:gd name="connsiteY6" fmla="*/ 35052 h 49244"/>
                  <a:gd name="connsiteX7" fmla="*/ 0 w 41719"/>
                  <a:gd name="connsiteY7" fmla="*/ 0 h 49244"/>
                  <a:gd name="connsiteX8" fmla="*/ 8858 w 41719"/>
                  <a:gd name="connsiteY8" fmla="*/ 0 h 49244"/>
                  <a:gd name="connsiteX9" fmla="*/ 8858 w 41719"/>
                  <a:gd name="connsiteY9" fmla="*/ 34862 h 49244"/>
                  <a:gd name="connsiteX10" fmla="*/ 8953 w 41719"/>
                  <a:gd name="connsiteY10" fmla="*/ 36100 h 49244"/>
                  <a:gd name="connsiteX11" fmla="*/ 13811 w 41719"/>
                  <a:gd name="connsiteY11" fmla="*/ 40767 h 49244"/>
                  <a:gd name="connsiteX12" fmla="*/ 15145 w 41719"/>
                  <a:gd name="connsiteY12" fmla="*/ 40957 h 49244"/>
                  <a:gd name="connsiteX13" fmla="*/ 23146 w 41719"/>
                  <a:gd name="connsiteY13" fmla="*/ 40957 h 49244"/>
                  <a:gd name="connsiteX14" fmla="*/ 31909 w 41719"/>
                  <a:gd name="connsiteY14" fmla="*/ 35243 h 49244"/>
                  <a:gd name="connsiteX15" fmla="*/ 31909 w 41719"/>
                  <a:gd name="connsiteY15" fmla="*/ 95 h 49244"/>
                  <a:gd name="connsiteX16" fmla="*/ 40767 w 41719"/>
                  <a:gd name="connsiteY16" fmla="*/ 95 h 49244"/>
                  <a:gd name="connsiteX17" fmla="*/ 40767 w 41719"/>
                  <a:gd name="connsiteY17" fmla="*/ 39815 h 49244"/>
                  <a:gd name="connsiteX18" fmla="*/ 41720 w 41719"/>
                  <a:gd name="connsiteY18" fmla="*/ 48863 h 49244"/>
                  <a:gd name="connsiteX19" fmla="*/ 32861 w 41719"/>
                  <a:gd name="connsiteY19" fmla="*/ 48863 h 49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244">
                    <a:moveTo>
                      <a:pt x="32861" y="48863"/>
                    </a:moveTo>
                    <a:lnTo>
                      <a:pt x="32385" y="44863"/>
                    </a:lnTo>
                    <a:cubicBezTo>
                      <a:pt x="30099" y="46863"/>
                      <a:pt x="26765" y="49244"/>
                      <a:pt x="23527" y="49244"/>
                    </a:cubicBezTo>
                    <a:lnTo>
                      <a:pt x="15049" y="49244"/>
                    </a:lnTo>
                    <a:cubicBezTo>
                      <a:pt x="12382" y="49244"/>
                      <a:pt x="9334" y="48482"/>
                      <a:pt x="7239" y="46958"/>
                    </a:cubicBezTo>
                    <a:cubicBezTo>
                      <a:pt x="5524" y="45720"/>
                      <a:pt x="2762" y="42767"/>
                      <a:pt x="1810" y="41529"/>
                    </a:cubicBezTo>
                    <a:cubicBezTo>
                      <a:pt x="476" y="39624"/>
                      <a:pt x="0" y="37338"/>
                      <a:pt x="0" y="35052"/>
                    </a:cubicBezTo>
                    <a:lnTo>
                      <a:pt x="0" y="0"/>
                    </a:lnTo>
                    <a:lnTo>
                      <a:pt x="8858" y="0"/>
                    </a:lnTo>
                    <a:lnTo>
                      <a:pt x="8858" y="34862"/>
                    </a:lnTo>
                    <a:cubicBezTo>
                      <a:pt x="8858" y="34862"/>
                      <a:pt x="8858" y="35909"/>
                      <a:pt x="8953" y="36100"/>
                    </a:cubicBezTo>
                    <a:cubicBezTo>
                      <a:pt x="9906" y="37719"/>
                      <a:pt x="12287" y="39815"/>
                      <a:pt x="13811" y="40767"/>
                    </a:cubicBezTo>
                    <a:cubicBezTo>
                      <a:pt x="14097" y="40862"/>
                      <a:pt x="14478" y="40957"/>
                      <a:pt x="15145" y="40957"/>
                    </a:cubicBezTo>
                    <a:lnTo>
                      <a:pt x="23146" y="40957"/>
                    </a:lnTo>
                    <a:cubicBezTo>
                      <a:pt x="25336" y="40957"/>
                      <a:pt x="30671" y="36671"/>
                      <a:pt x="31909" y="35243"/>
                    </a:cubicBezTo>
                    <a:lnTo>
                      <a:pt x="31909" y="95"/>
                    </a:lnTo>
                    <a:lnTo>
                      <a:pt x="40767" y="95"/>
                    </a:lnTo>
                    <a:lnTo>
                      <a:pt x="40767" y="39815"/>
                    </a:lnTo>
                    <a:lnTo>
                      <a:pt x="41720" y="48863"/>
                    </a:lnTo>
                    <a:lnTo>
                      <a:pt x="32861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8" name="Freihandform: Form 157">
                <a:extLst>
                  <a:ext uri="{FF2B5EF4-FFF2-40B4-BE49-F238E27FC236}">
                    <a16:creationId xmlns:a16="http://schemas.microsoft.com/office/drawing/2014/main" id="{F7F9833D-BAC5-45C1-B5CC-C83567C5BEC1}"/>
                  </a:ext>
                </a:extLst>
              </p:cNvPr>
              <p:cNvSpPr/>
              <p:nvPr/>
            </p:nvSpPr>
            <p:spPr>
              <a:xfrm>
                <a:off x="9049473" y="5439315"/>
                <a:ext cx="31813" cy="67913"/>
              </a:xfrm>
              <a:custGeom>
                <a:avLst/>
                <a:gdLst>
                  <a:gd name="connsiteX0" fmla="*/ 16764 w 31813"/>
                  <a:gd name="connsiteY0" fmla="*/ 27432 h 67913"/>
                  <a:gd name="connsiteX1" fmla="*/ 16764 w 31813"/>
                  <a:gd name="connsiteY1" fmla="*/ 53340 h 67913"/>
                  <a:gd name="connsiteX2" fmla="*/ 16955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764" y="27432"/>
                    </a:moveTo>
                    <a:lnTo>
                      <a:pt x="16764" y="53340"/>
                    </a:lnTo>
                    <a:cubicBezTo>
                      <a:pt x="16764" y="54102"/>
                      <a:pt x="16859" y="54673"/>
                      <a:pt x="16955" y="54769"/>
                    </a:cubicBezTo>
                    <a:cubicBezTo>
                      <a:pt x="17907" y="56388"/>
                      <a:pt x="19907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384" y="67913"/>
                      <a:pt x="17431" y="67151"/>
                      <a:pt x="15335" y="65627"/>
                    </a:cubicBezTo>
                    <a:cubicBezTo>
                      <a:pt x="13621" y="64389"/>
                      <a:pt x="10859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59" name="Freihandform: Form 158">
                <a:extLst>
                  <a:ext uri="{FF2B5EF4-FFF2-40B4-BE49-F238E27FC236}">
                    <a16:creationId xmlns:a16="http://schemas.microsoft.com/office/drawing/2014/main" id="{B543659C-E90A-4F36-B252-B09E66C9FE4D}"/>
                  </a:ext>
                </a:extLst>
              </p:cNvPr>
              <p:cNvSpPr/>
              <p:nvPr/>
            </p:nvSpPr>
            <p:spPr>
              <a:xfrm>
                <a:off x="9095574" y="5439506"/>
                <a:ext cx="9715" cy="67817"/>
              </a:xfrm>
              <a:custGeom>
                <a:avLst/>
                <a:gdLst>
                  <a:gd name="connsiteX0" fmla="*/ 952 w 9715"/>
                  <a:gd name="connsiteY0" fmla="*/ 67818 h 67817"/>
                  <a:gd name="connsiteX1" fmla="*/ 381 w 9715"/>
                  <a:gd name="connsiteY1" fmla="*/ 63627 h 67817"/>
                  <a:gd name="connsiteX2" fmla="*/ 0 w 9715"/>
                  <a:gd name="connsiteY2" fmla="*/ 60484 h 67817"/>
                  <a:gd name="connsiteX3" fmla="*/ 0 w 9715"/>
                  <a:gd name="connsiteY3" fmla="*/ 0 h 67817"/>
                  <a:gd name="connsiteX4" fmla="*/ 8573 w 9715"/>
                  <a:gd name="connsiteY4" fmla="*/ 0 h 67817"/>
                  <a:gd name="connsiteX5" fmla="*/ 8573 w 9715"/>
                  <a:gd name="connsiteY5" fmla="*/ 59150 h 67817"/>
                  <a:gd name="connsiteX6" fmla="*/ 9716 w 9715"/>
                  <a:gd name="connsiteY6" fmla="*/ 67818 h 67817"/>
                  <a:gd name="connsiteX7" fmla="*/ 857 w 9715"/>
                  <a:gd name="connsiteY7" fmla="*/ 67818 h 67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715" h="67817">
                    <a:moveTo>
                      <a:pt x="952" y="67818"/>
                    </a:moveTo>
                    <a:cubicBezTo>
                      <a:pt x="762" y="66199"/>
                      <a:pt x="571" y="64865"/>
                      <a:pt x="381" y="63627"/>
                    </a:cubicBezTo>
                    <a:cubicBezTo>
                      <a:pt x="191" y="62389"/>
                      <a:pt x="0" y="61341"/>
                      <a:pt x="0" y="60484"/>
                    </a:cubicBezTo>
                    <a:lnTo>
                      <a:pt x="0" y="0"/>
                    </a:lnTo>
                    <a:lnTo>
                      <a:pt x="8573" y="0"/>
                    </a:lnTo>
                    <a:lnTo>
                      <a:pt x="8573" y="59150"/>
                    </a:lnTo>
                    <a:cubicBezTo>
                      <a:pt x="8573" y="61531"/>
                      <a:pt x="9144" y="64675"/>
                      <a:pt x="9716" y="67818"/>
                    </a:cubicBezTo>
                    <a:lnTo>
                      <a:pt x="857" y="6781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0" name="Freihandform: Form 159">
                <a:extLst>
                  <a:ext uri="{FF2B5EF4-FFF2-40B4-BE49-F238E27FC236}">
                    <a16:creationId xmlns:a16="http://schemas.microsoft.com/office/drawing/2014/main" id="{503F33E0-22C3-4D10-88BA-83CDEB9A18C2}"/>
                  </a:ext>
                </a:extLst>
              </p:cNvPr>
              <p:cNvSpPr/>
              <p:nvPr/>
            </p:nvSpPr>
            <p:spPr>
              <a:xfrm>
                <a:off x="9124625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1" name="Freihandform: Form 160">
                <a:extLst>
                  <a:ext uri="{FF2B5EF4-FFF2-40B4-BE49-F238E27FC236}">
                    <a16:creationId xmlns:a16="http://schemas.microsoft.com/office/drawing/2014/main" id="{A338703B-FE4C-4DB3-812C-AE9B6A09C229}"/>
                  </a:ext>
                </a:extLst>
              </p:cNvPr>
              <p:cNvSpPr/>
              <p:nvPr/>
            </p:nvSpPr>
            <p:spPr>
              <a:xfrm>
                <a:off x="9148914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80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3 w 41719"/>
                  <a:gd name="connsiteY8" fmla="*/ 49339 h 49339"/>
                  <a:gd name="connsiteX9" fmla="*/ 953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20 w 41719"/>
                  <a:gd name="connsiteY17" fmla="*/ 14192 h 49339"/>
                  <a:gd name="connsiteX18" fmla="*/ 41720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432" y="9430"/>
                      <a:pt x="27813" y="8477"/>
                    </a:cubicBezTo>
                    <a:cubicBezTo>
                      <a:pt x="27432" y="8382"/>
                      <a:pt x="27146" y="8287"/>
                      <a:pt x="26480" y="8287"/>
                    </a:cubicBezTo>
                    <a:lnTo>
                      <a:pt x="18479" y="8287"/>
                    </a:lnTo>
                    <a:cubicBezTo>
                      <a:pt x="16383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3" y="49339"/>
                    </a:lnTo>
                    <a:lnTo>
                      <a:pt x="953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337" y="0"/>
                      <a:pt x="32480" y="762"/>
                      <a:pt x="34481" y="2286"/>
                    </a:cubicBezTo>
                    <a:cubicBezTo>
                      <a:pt x="36195" y="3524"/>
                      <a:pt x="39053" y="6477"/>
                      <a:pt x="39910" y="7715"/>
                    </a:cubicBezTo>
                    <a:cubicBezTo>
                      <a:pt x="41243" y="9620"/>
                      <a:pt x="41720" y="11906"/>
                      <a:pt x="41720" y="14192"/>
                    </a:cubicBezTo>
                    <a:lnTo>
                      <a:pt x="41720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2" name="Freihandform: Form 161">
                <a:extLst>
                  <a:ext uri="{FF2B5EF4-FFF2-40B4-BE49-F238E27FC236}">
                    <a16:creationId xmlns:a16="http://schemas.microsoft.com/office/drawing/2014/main" id="{9536C894-4116-4B1A-B575-7B74F986F53F}"/>
                  </a:ext>
                </a:extLst>
              </p:cNvPr>
              <p:cNvSpPr/>
              <p:nvPr/>
            </p:nvSpPr>
            <p:spPr>
              <a:xfrm>
                <a:off x="9205207" y="5457985"/>
                <a:ext cx="42862" cy="68770"/>
              </a:xfrm>
              <a:custGeom>
                <a:avLst/>
                <a:gdLst>
                  <a:gd name="connsiteX0" fmla="*/ 42005 w 42862"/>
                  <a:gd name="connsiteY0" fmla="*/ 9715 h 68770"/>
                  <a:gd name="connsiteX1" fmla="*/ 42005 w 42862"/>
                  <a:gd name="connsiteY1" fmla="*/ 54388 h 68770"/>
                  <a:gd name="connsiteX2" fmla="*/ 40196 w 42862"/>
                  <a:gd name="connsiteY2" fmla="*/ 60960 h 68770"/>
                  <a:gd name="connsiteX3" fmla="*/ 34766 w 42862"/>
                  <a:gd name="connsiteY3" fmla="*/ 66389 h 68770"/>
                  <a:gd name="connsiteX4" fmla="*/ 26956 w 42862"/>
                  <a:gd name="connsiteY4" fmla="*/ 68770 h 68770"/>
                  <a:gd name="connsiteX5" fmla="*/ 15621 w 42862"/>
                  <a:gd name="connsiteY5" fmla="*/ 68770 h 68770"/>
                  <a:gd name="connsiteX6" fmla="*/ 7906 w 42862"/>
                  <a:gd name="connsiteY6" fmla="*/ 66389 h 68770"/>
                  <a:gd name="connsiteX7" fmla="*/ 286 w 42862"/>
                  <a:gd name="connsiteY7" fmla="*/ 56864 h 68770"/>
                  <a:gd name="connsiteX8" fmla="*/ 8573 w 42862"/>
                  <a:gd name="connsiteY8" fmla="*/ 54197 h 68770"/>
                  <a:gd name="connsiteX9" fmla="*/ 15240 w 42862"/>
                  <a:gd name="connsiteY9" fmla="*/ 60579 h 68770"/>
                  <a:gd name="connsiteX10" fmla="*/ 26765 w 42862"/>
                  <a:gd name="connsiteY10" fmla="*/ 60579 h 68770"/>
                  <a:gd name="connsiteX11" fmla="*/ 28099 w 42862"/>
                  <a:gd name="connsiteY11" fmla="*/ 60198 h 68770"/>
                  <a:gd name="connsiteX12" fmla="*/ 33052 w 42862"/>
                  <a:gd name="connsiteY12" fmla="*/ 55150 h 68770"/>
                  <a:gd name="connsiteX13" fmla="*/ 33052 w 42862"/>
                  <a:gd name="connsiteY13" fmla="*/ 45625 h 68770"/>
                  <a:gd name="connsiteX14" fmla="*/ 24384 w 42862"/>
                  <a:gd name="connsiteY14" fmla="*/ 49911 h 68770"/>
                  <a:gd name="connsiteX15" fmla="*/ 15050 w 42862"/>
                  <a:gd name="connsiteY15" fmla="*/ 49911 h 68770"/>
                  <a:gd name="connsiteX16" fmla="*/ 7239 w 42862"/>
                  <a:gd name="connsiteY16" fmla="*/ 47625 h 68770"/>
                  <a:gd name="connsiteX17" fmla="*/ 1810 w 42862"/>
                  <a:gd name="connsiteY17" fmla="*/ 42101 h 68770"/>
                  <a:gd name="connsiteX18" fmla="*/ 0 w 42862"/>
                  <a:gd name="connsiteY18" fmla="*/ 35528 h 68770"/>
                  <a:gd name="connsiteX19" fmla="*/ 0 w 42862"/>
                  <a:gd name="connsiteY19" fmla="*/ 14383 h 68770"/>
                  <a:gd name="connsiteX20" fmla="*/ 1810 w 42862"/>
                  <a:gd name="connsiteY20" fmla="*/ 7810 h 68770"/>
                  <a:gd name="connsiteX21" fmla="*/ 7239 w 42862"/>
                  <a:gd name="connsiteY21" fmla="*/ 2286 h 68770"/>
                  <a:gd name="connsiteX22" fmla="*/ 15050 w 42862"/>
                  <a:gd name="connsiteY22" fmla="*/ 0 h 68770"/>
                  <a:gd name="connsiteX23" fmla="*/ 24384 w 42862"/>
                  <a:gd name="connsiteY23" fmla="*/ 0 h 68770"/>
                  <a:gd name="connsiteX24" fmla="*/ 33528 w 42862"/>
                  <a:gd name="connsiteY24" fmla="*/ 4763 h 68770"/>
                  <a:gd name="connsiteX25" fmla="*/ 34004 w 42862"/>
                  <a:gd name="connsiteY25" fmla="*/ 571 h 68770"/>
                  <a:gd name="connsiteX26" fmla="*/ 42863 w 42862"/>
                  <a:gd name="connsiteY26" fmla="*/ 571 h 68770"/>
                  <a:gd name="connsiteX27" fmla="*/ 42005 w 42862"/>
                  <a:gd name="connsiteY27" fmla="*/ 9715 h 68770"/>
                  <a:gd name="connsiteX28" fmla="*/ 33242 w 42862"/>
                  <a:gd name="connsiteY28" fmla="*/ 14859 h 68770"/>
                  <a:gd name="connsiteX29" fmla="*/ 24098 w 42862"/>
                  <a:gd name="connsiteY29" fmla="*/ 8287 h 68770"/>
                  <a:gd name="connsiteX30" fmla="*/ 15240 w 42862"/>
                  <a:gd name="connsiteY30" fmla="*/ 8287 h 68770"/>
                  <a:gd name="connsiteX31" fmla="*/ 13906 w 42862"/>
                  <a:gd name="connsiteY31" fmla="*/ 8668 h 68770"/>
                  <a:gd name="connsiteX32" fmla="*/ 9049 w 42862"/>
                  <a:gd name="connsiteY32" fmla="*/ 13430 h 68770"/>
                  <a:gd name="connsiteX33" fmla="*/ 8858 w 42862"/>
                  <a:gd name="connsiteY33" fmla="*/ 14668 h 68770"/>
                  <a:gd name="connsiteX34" fmla="*/ 8858 w 42862"/>
                  <a:gd name="connsiteY34" fmla="*/ 35338 h 68770"/>
                  <a:gd name="connsiteX35" fmla="*/ 9049 w 42862"/>
                  <a:gd name="connsiteY35" fmla="*/ 36576 h 68770"/>
                  <a:gd name="connsiteX36" fmla="*/ 13906 w 42862"/>
                  <a:gd name="connsiteY36" fmla="*/ 41434 h 68770"/>
                  <a:gd name="connsiteX37" fmla="*/ 15240 w 42862"/>
                  <a:gd name="connsiteY37" fmla="*/ 41624 h 68770"/>
                  <a:gd name="connsiteX38" fmla="*/ 24098 w 42862"/>
                  <a:gd name="connsiteY38" fmla="*/ 41624 h 68770"/>
                  <a:gd name="connsiteX39" fmla="*/ 25146 w 42862"/>
                  <a:gd name="connsiteY39" fmla="*/ 41529 h 68770"/>
                  <a:gd name="connsiteX40" fmla="*/ 33338 w 42862"/>
                  <a:gd name="connsiteY40" fmla="*/ 35052 h 68770"/>
                  <a:gd name="connsiteX41" fmla="*/ 33338 w 42862"/>
                  <a:gd name="connsiteY41" fmla="*/ 14764 h 68770"/>
                  <a:gd name="connsiteX42" fmla="*/ 33338 w 42862"/>
                  <a:gd name="connsiteY42" fmla="*/ 14764 h 68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2862" h="68770">
                    <a:moveTo>
                      <a:pt x="42005" y="9715"/>
                    </a:moveTo>
                    <a:lnTo>
                      <a:pt x="42005" y="54388"/>
                    </a:lnTo>
                    <a:cubicBezTo>
                      <a:pt x="42005" y="56769"/>
                      <a:pt x="41529" y="59055"/>
                      <a:pt x="40196" y="60960"/>
                    </a:cubicBezTo>
                    <a:cubicBezTo>
                      <a:pt x="39243" y="62198"/>
                      <a:pt x="36481" y="65151"/>
                      <a:pt x="34766" y="66389"/>
                    </a:cubicBezTo>
                    <a:cubicBezTo>
                      <a:pt x="32766" y="67818"/>
                      <a:pt x="29527" y="68770"/>
                      <a:pt x="26956" y="68770"/>
                    </a:cubicBezTo>
                    <a:lnTo>
                      <a:pt x="15621" y="68770"/>
                    </a:lnTo>
                    <a:cubicBezTo>
                      <a:pt x="13049" y="68770"/>
                      <a:pt x="10001" y="67913"/>
                      <a:pt x="7906" y="66389"/>
                    </a:cubicBezTo>
                    <a:cubicBezTo>
                      <a:pt x="5334" y="64579"/>
                      <a:pt x="1715" y="60293"/>
                      <a:pt x="286" y="56864"/>
                    </a:cubicBezTo>
                    <a:lnTo>
                      <a:pt x="8573" y="54197"/>
                    </a:lnTo>
                    <a:cubicBezTo>
                      <a:pt x="9715" y="56483"/>
                      <a:pt x="12763" y="60579"/>
                      <a:pt x="15240" y="60579"/>
                    </a:cubicBezTo>
                    <a:lnTo>
                      <a:pt x="26765" y="60579"/>
                    </a:lnTo>
                    <a:cubicBezTo>
                      <a:pt x="27432" y="60579"/>
                      <a:pt x="27813" y="60389"/>
                      <a:pt x="28099" y="60198"/>
                    </a:cubicBezTo>
                    <a:cubicBezTo>
                      <a:pt x="29337" y="59531"/>
                      <a:pt x="32956" y="56483"/>
                      <a:pt x="33052" y="55150"/>
                    </a:cubicBezTo>
                    <a:lnTo>
                      <a:pt x="33052" y="45625"/>
                    </a:lnTo>
                    <a:cubicBezTo>
                      <a:pt x="30766" y="47720"/>
                      <a:pt x="27527" y="49911"/>
                      <a:pt x="24384" y="49911"/>
                    </a:cubicBezTo>
                    <a:lnTo>
                      <a:pt x="15050" y="49911"/>
                    </a:lnTo>
                    <a:cubicBezTo>
                      <a:pt x="12478" y="49911"/>
                      <a:pt x="9334" y="49149"/>
                      <a:pt x="7239" y="47625"/>
                    </a:cubicBezTo>
                    <a:cubicBezTo>
                      <a:pt x="5525" y="46387"/>
                      <a:pt x="2667" y="43339"/>
                      <a:pt x="1810" y="42101"/>
                    </a:cubicBezTo>
                    <a:cubicBezTo>
                      <a:pt x="476" y="40195"/>
                      <a:pt x="0" y="37909"/>
                      <a:pt x="0" y="35528"/>
                    </a:cubicBezTo>
                    <a:lnTo>
                      <a:pt x="0" y="14383"/>
                    </a:lnTo>
                    <a:cubicBezTo>
                      <a:pt x="0" y="12001"/>
                      <a:pt x="476" y="9715"/>
                      <a:pt x="1810" y="7810"/>
                    </a:cubicBezTo>
                    <a:cubicBezTo>
                      <a:pt x="2762" y="6572"/>
                      <a:pt x="5525" y="3524"/>
                      <a:pt x="7239" y="2286"/>
                    </a:cubicBezTo>
                    <a:cubicBezTo>
                      <a:pt x="9239" y="762"/>
                      <a:pt x="12478" y="0"/>
                      <a:pt x="15050" y="0"/>
                    </a:cubicBezTo>
                    <a:lnTo>
                      <a:pt x="24384" y="0"/>
                    </a:lnTo>
                    <a:cubicBezTo>
                      <a:pt x="27813" y="0"/>
                      <a:pt x="31147" y="2572"/>
                      <a:pt x="33528" y="4763"/>
                    </a:cubicBezTo>
                    <a:lnTo>
                      <a:pt x="34004" y="571"/>
                    </a:lnTo>
                    <a:lnTo>
                      <a:pt x="42863" y="571"/>
                    </a:lnTo>
                    <a:lnTo>
                      <a:pt x="42005" y="9715"/>
                    </a:lnTo>
                    <a:close/>
                    <a:moveTo>
                      <a:pt x="33242" y="14859"/>
                    </a:moveTo>
                    <a:cubicBezTo>
                      <a:pt x="31909" y="13240"/>
                      <a:pt x="26479" y="8287"/>
                      <a:pt x="24098" y="8287"/>
                    </a:cubicBezTo>
                    <a:lnTo>
                      <a:pt x="15240" y="8287"/>
                    </a:lnTo>
                    <a:cubicBezTo>
                      <a:pt x="14573" y="8287"/>
                      <a:pt x="14192" y="8477"/>
                      <a:pt x="13906" y="8668"/>
                    </a:cubicBezTo>
                    <a:cubicBezTo>
                      <a:pt x="12287" y="9525"/>
                      <a:pt x="9906" y="11811"/>
                      <a:pt x="9049" y="13430"/>
                    </a:cubicBezTo>
                    <a:cubicBezTo>
                      <a:pt x="8954" y="13526"/>
                      <a:pt x="8858" y="14002"/>
                      <a:pt x="8858" y="14668"/>
                    </a:cubicBezTo>
                    <a:lnTo>
                      <a:pt x="8858" y="35338"/>
                    </a:lnTo>
                    <a:cubicBezTo>
                      <a:pt x="8858" y="36004"/>
                      <a:pt x="8954" y="36481"/>
                      <a:pt x="9049" y="36576"/>
                    </a:cubicBezTo>
                    <a:cubicBezTo>
                      <a:pt x="10001" y="38195"/>
                      <a:pt x="12382" y="40576"/>
                      <a:pt x="13906" y="41434"/>
                    </a:cubicBezTo>
                    <a:cubicBezTo>
                      <a:pt x="14288" y="41529"/>
                      <a:pt x="14573" y="41624"/>
                      <a:pt x="15240" y="41624"/>
                    </a:cubicBezTo>
                    <a:lnTo>
                      <a:pt x="24098" y="41624"/>
                    </a:lnTo>
                    <a:cubicBezTo>
                      <a:pt x="24098" y="41624"/>
                      <a:pt x="24860" y="41624"/>
                      <a:pt x="25146" y="41529"/>
                    </a:cubicBezTo>
                    <a:cubicBezTo>
                      <a:pt x="27623" y="40291"/>
                      <a:pt x="31718" y="37147"/>
                      <a:pt x="33338" y="35052"/>
                    </a:cubicBezTo>
                    <a:lnTo>
                      <a:pt x="33338" y="14764"/>
                    </a:lnTo>
                    <a:lnTo>
                      <a:pt x="33338" y="1476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3" name="Freihandform: Form 162">
                <a:extLst>
                  <a:ext uri="{FF2B5EF4-FFF2-40B4-BE49-F238E27FC236}">
                    <a16:creationId xmlns:a16="http://schemas.microsoft.com/office/drawing/2014/main" id="{06E56B40-2F9F-49AA-BAC0-B8E046153742}"/>
                  </a:ext>
                </a:extLst>
              </p:cNvPr>
              <p:cNvSpPr/>
              <p:nvPr/>
            </p:nvSpPr>
            <p:spPr>
              <a:xfrm>
                <a:off x="9262547" y="5457889"/>
                <a:ext cx="41814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6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383" y="50006"/>
                      <a:pt x="9335" y="49244"/>
                      <a:pt x="7334" y="47720"/>
                    </a:cubicBezTo>
                    <a:cubicBezTo>
                      <a:pt x="5620" y="46482"/>
                      <a:pt x="2858" y="43529"/>
                      <a:pt x="1905" y="42291"/>
                    </a:cubicBezTo>
                    <a:cubicBezTo>
                      <a:pt x="572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2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5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147" y="0"/>
                      <a:pt x="32290" y="762"/>
                      <a:pt x="34290" y="2286"/>
                    </a:cubicBezTo>
                    <a:cubicBezTo>
                      <a:pt x="36004" y="3524"/>
                      <a:pt x="38862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4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3" y="41624"/>
                      <a:pt x="28004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6" y="13144"/>
                    </a:cubicBezTo>
                    <a:cubicBezTo>
                      <a:pt x="31623" y="11525"/>
                      <a:pt x="29242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4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4" name="Freihandform: Form 163">
                <a:extLst>
                  <a:ext uri="{FF2B5EF4-FFF2-40B4-BE49-F238E27FC236}">
                    <a16:creationId xmlns:a16="http://schemas.microsoft.com/office/drawing/2014/main" id="{DE82C4C3-EFE5-4AE1-9D51-5C8C188438A2}"/>
                  </a:ext>
                </a:extLst>
              </p:cNvPr>
              <p:cNvSpPr/>
              <p:nvPr/>
            </p:nvSpPr>
            <p:spPr>
              <a:xfrm>
                <a:off x="9318078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9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5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1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861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9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5" y="4572"/>
                    </a:lnTo>
                    <a:cubicBezTo>
                      <a:pt x="11621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1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861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5" name="Freihandform: Form 164">
                <a:extLst>
                  <a:ext uri="{FF2B5EF4-FFF2-40B4-BE49-F238E27FC236}">
                    <a16:creationId xmlns:a16="http://schemas.microsoft.com/office/drawing/2014/main" id="{EB11EE3D-3220-4F71-89C5-372B80158486}"/>
                  </a:ext>
                </a:extLst>
              </p:cNvPr>
              <p:cNvSpPr/>
              <p:nvPr/>
            </p:nvSpPr>
            <p:spPr>
              <a:xfrm>
                <a:off x="9403136" y="5439411"/>
                <a:ext cx="47529" cy="68389"/>
              </a:xfrm>
              <a:custGeom>
                <a:avLst/>
                <a:gdLst>
                  <a:gd name="connsiteX0" fmla="*/ 46196 w 47529"/>
                  <a:gd name="connsiteY0" fmla="*/ 58579 h 68389"/>
                  <a:gd name="connsiteX1" fmla="*/ 38100 w 47529"/>
                  <a:gd name="connsiteY1" fmla="*/ 66484 h 68389"/>
                  <a:gd name="connsiteX2" fmla="*/ 31623 w 47529"/>
                  <a:gd name="connsiteY2" fmla="*/ 68390 h 68389"/>
                  <a:gd name="connsiteX3" fmla="*/ 16478 w 47529"/>
                  <a:gd name="connsiteY3" fmla="*/ 68390 h 68389"/>
                  <a:gd name="connsiteX4" fmla="*/ 9906 w 47529"/>
                  <a:gd name="connsiteY4" fmla="*/ 66484 h 68389"/>
                  <a:gd name="connsiteX5" fmla="*/ 1715 w 47529"/>
                  <a:gd name="connsiteY5" fmla="*/ 58579 h 68389"/>
                  <a:gd name="connsiteX6" fmla="*/ 0 w 47529"/>
                  <a:gd name="connsiteY6" fmla="*/ 52673 h 68389"/>
                  <a:gd name="connsiteX7" fmla="*/ 0 w 47529"/>
                  <a:gd name="connsiteY7" fmla="*/ 0 h 68389"/>
                  <a:gd name="connsiteX8" fmla="*/ 9239 w 47529"/>
                  <a:gd name="connsiteY8" fmla="*/ 0 h 68389"/>
                  <a:gd name="connsiteX9" fmla="*/ 9239 w 47529"/>
                  <a:gd name="connsiteY9" fmla="*/ 52483 h 68389"/>
                  <a:gd name="connsiteX10" fmla="*/ 16097 w 47529"/>
                  <a:gd name="connsiteY10" fmla="*/ 59531 h 68389"/>
                  <a:gd name="connsiteX11" fmla="*/ 16859 w 47529"/>
                  <a:gd name="connsiteY11" fmla="*/ 59627 h 68389"/>
                  <a:gd name="connsiteX12" fmla="*/ 30861 w 47529"/>
                  <a:gd name="connsiteY12" fmla="*/ 59627 h 68389"/>
                  <a:gd name="connsiteX13" fmla="*/ 31623 w 47529"/>
                  <a:gd name="connsiteY13" fmla="*/ 59531 h 68389"/>
                  <a:gd name="connsiteX14" fmla="*/ 38290 w 47529"/>
                  <a:gd name="connsiteY14" fmla="*/ 52483 h 68389"/>
                  <a:gd name="connsiteX15" fmla="*/ 38290 w 47529"/>
                  <a:gd name="connsiteY15" fmla="*/ 0 h 68389"/>
                  <a:gd name="connsiteX16" fmla="*/ 47530 w 47529"/>
                  <a:gd name="connsiteY16" fmla="*/ 0 h 68389"/>
                  <a:gd name="connsiteX17" fmla="*/ 47530 w 47529"/>
                  <a:gd name="connsiteY17" fmla="*/ 52673 h 68389"/>
                  <a:gd name="connsiteX18" fmla="*/ 45910 w 47529"/>
                  <a:gd name="connsiteY18" fmla="*/ 58579 h 68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529" h="68389">
                    <a:moveTo>
                      <a:pt x="46196" y="58579"/>
                    </a:moveTo>
                    <a:cubicBezTo>
                      <a:pt x="44863" y="60579"/>
                      <a:pt x="40291" y="65151"/>
                      <a:pt x="38100" y="66484"/>
                    </a:cubicBezTo>
                    <a:cubicBezTo>
                      <a:pt x="36290" y="67532"/>
                      <a:pt x="33814" y="68390"/>
                      <a:pt x="31623" y="68390"/>
                    </a:cubicBezTo>
                    <a:lnTo>
                      <a:pt x="16478" y="68390"/>
                    </a:lnTo>
                    <a:cubicBezTo>
                      <a:pt x="14383" y="68390"/>
                      <a:pt x="11716" y="67437"/>
                      <a:pt x="9906" y="66484"/>
                    </a:cubicBezTo>
                    <a:cubicBezTo>
                      <a:pt x="7620" y="65151"/>
                      <a:pt x="3143" y="60579"/>
                      <a:pt x="1715" y="58579"/>
                    </a:cubicBezTo>
                    <a:cubicBezTo>
                      <a:pt x="476" y="56769"/>
                      <a:pt x="0" y="54769"/>
                      <a:pt x="0" y="52673"/>
                    </a:cubicBezTo>
                    <a:lnTo>
                      <a:pt x="0" y="0"/>
                    </a:lnTo>
                    <a:lnTo>
                      <a:pt x="9239" y="0"/>
                    </a:lnTo>
                    <a:lnTo>
                      <a:pt x="9239" y="52483"/>
                    </a:lnTo>
                    <a:cubicBezTo>
                      <a:pt x="9239" y="54197"/>
                      <a:pt x="14478" y="58674"/>
                      <a:pt x="16097" y="59531"/>
                    </a:cubicBezTo>
                    <a:cubicBezTo>
                      <a:pt x="16192" y="59531"/>
                      <a:pt x="16478" y="59627"/>
                      <a:pt x="16859" y="59627"/>
                    </a:cubicBezTo>
                    <a:lnTo>
                      <a:pt x="30861" y="59627"/>
                    </a:lnTo>
                    <a:cubicBezTo>
                      <a:pt x="30861" y="59627"/>
                      <a:pt x="31528" y="59531"/>
                      <a:pt x="31623" y="59531"/>
                    </a:cubicBezTo>
                    <a:cubicBezTo>
                      <a:pt x="33338" y="58769"/>
                      <a:pt x="38290" y="54102"/>
                      <a:pt x="38290" y="52483"/>
                    </a:cubicBezTo>
                    <a:lnTo>
                      <a:pt x="38290" y="0"/>
                    </a:lnTo>
                    <a:lnTo>
                      <a:pt x="47530" y="0"/>
                    </a:lnTo>
                    <a:lnTo>
                      <a:pt x="47530" y="52673"/>
                    </a:lnTo>
                    <a:cubicBezTo>
                      <a:pt x="47530" y="54769"/>
                      <a:pt x="47244" y="56769"/>
                      <a:pt x="45910" y="58579"/>
                    </a:cubicBezTo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6" name="Freihandform: Form 165">
                <a:extLst>
                  <a:ext uri="{FF2B5EF4-FFF2-40B4-BE49-F238E27FC236}">
                    <a16:creationId xmlns:a16="http://schemas.microsoft.com/office/drawing/2014/main" id="{18F4214A-AC47-43FF-97C7-939EC52CEEB8}"/>
                  </a:ext>
                </a:extLst>
              </p:cNvPr>
              <p:cNvSpPr/>
              <p:nvPr/>
            </p:nvSpPr>
            <p:spPr>
              <a:xfrm>
                <a:off x="9465906" y="5457985"/>
                <a:ext cx="41719" cy="49339"/>
              </a:xfrm>
              <a:custGeom>
                <a:avLst/>
                <a:gdLst>
                  <a:gd name="connsiteX0" fmla="*/ 32766 w 41719"/>
                  <a:gd name="connsiteY0" fmla="*/ 49339 h 49339"/>
                  <a:gd name="connsiteX1" fmla="*/ 32766 w 41719"/>
                  <a:gd name="connsiteY1" fmla="*/ 14383 h 49339"/>
                  <a:gd name="connsiteX2" fmla="*/ 32671 w 41719"/>
                  <a:gd name="connsiteY2" fmla="*/ 13144 h 49339"/>
                  <a:gd name="connsiteX3" fmla="*/ 27813 w 41719"/>
                  <a:gd name="connsiteY3" fmla="*/ 8477 h 49339"/>
                  <a:gd name="connsiteX4" fmla="*/ 26479 w 41719"/>
                  <a:gd name="connsiteY4" fmla="*/ 8287 h 49339"/>
                  <a:gd name="connsiteX5" fmla="*/ 18478 w 41719"/>
                  <a:gd name="connsiteY5" fmla="*/ 8287 h 49339"/>
                  <a:gd name="connsiteX6" fmla="*/ 9811 w 41719"/>
                  <a:gd name="connsiteY6" fmla="*/ 14192 h 49339"/>
                  <a:gd name="connsiteX7" fmla="*/ 9811 w 41719"/>
                  <a:gd name="connsiteY7" fmla="*/ 49339 h 49339"/>
                  <a:gd name="connsiteX8" fmla="*/ 952 w 41719"/>
                  <a:gd name="connsiteY8" fmla="*/ 49339 h 49339"/>
                  <a:gd name="connsiteX9" fmla="*/ 952 w 41719"/>
                  <a:gd name="connsiteY9" fmla="*/ 9620 h 49339"/>
                  <a:gd name="connsiteX10" fmla="*/ 0 w 41719"/>
                  <a:gd name="connsiteY10" fmla="*/ 571 h 49339"/>
                  <a:gd name="connsiteX11" fmla="*/ 8858 w 41719"/>
                  <a:gd name="connsiteY11" fmla="*/ 571 h 49339"/>
                  <a:gd name="connsiteX12" fmla="*/ 9334 w 41719"/>
                  <a:gd name="connsiteY12" fmla="*/ 4572 h 49339"/>
                  <a:gd name="connsiteX13" fmla="*/ 18193 w 41719"/>
                  <a:gd name="connsiteY13" fmla="*/ 0 h 49339"/>
                  <a:gd name="connsiteX14" fmla="*/ 26670 w 41719"/>
                  <a:gd name="connsiteY14" fmla="*/ 0 h 49339"/>
                  <a:gd name="connsiteX15" fmla="*/ 34480 w 41719"/>
                  <a:gd name="connsiteY15" fmla="*/ 2286 h 49339"/>
                  <a:gd name="connsiteX16" fmla="*/ 39910 w 41719"/>
                  <a:gd name="connsiteY16" fmla="*/ 7715 h 49339"/>
                  <a:gd name="connsiteX17" fmla="*/ 41719 w 41719"/>
                  <a:gd name="connsiteY17" fmla="*/ 14192 h 49339"/>
                  <a:gd name="connsiteX18" fmla="*/ 41719 w 41719"/>
                  <a:gd name="connsiteY18" fmla="*/ 49339 h 49339"/>
                  <a:gd name="connsiteX19" fmla="*/ 32956 w 41719"/>
                  <a:gd name="connsiteY19" fmla="*/ 49339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1719" h="49339">
                    <a:moveTo>
                      <a:pt x="32766" y="49339"/>
                    </a:moveTo>
                    <a:lnTo>
                      <a:pt x="32766" y="14383"/>
                    </a:lnTo>
                    <a:cubicBezTo>
                      <a:pt x="32766" y="14383"/>
                      <a:pt x="32766" y="13335"/>
                      <a:pt x="32671" y="13144"/>
                    </a:cubicBezTo>
                    <a:cubicBezTo>
                      <a:pt x="31718" y="11525"/>
                      <a:pt x="29337" y="9430"/>
                      <a:pt x="27813" y="8477"/>
                    </a:cubicBezTo>
                    <a:cubicBezTo>
                      <a:pt x="27432" y="8382"/>
                      <a:pt x="27146" y="8287"/>
                      <a:pt x="26479" y="8287"/>
                    </a:cubicBezTo>
                    <a:lnTo>
                      <a:pt x="18478" y="8287"/>
                    </a:lnTo>
                    <a:cubicBezTo>
                      <a:pt x="16288" y="8287"/>
                      <a:pt x="10858" y="12668"/>
                      <a:pt x="9811" y="14192"/>
                    </a:cubicBezTo>
                    <a:lnTo>
                      <a:pt x="9811" y="49339"/>
                    </a:lnTo>
                    <a:lnTo>
                      <a:pt x="952" y="49339"/>
                    </a:lnTo>
                    <a:lnTo>
                      <a:pt x="95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0" y="2572"/>
                      <a:pt x="14954" y="0"/>
                      <a:pt x="18193" y="0"/>
                    </a:cubicBezTo>
                    <a:lnTo>
                      <a:pt x="26670" y="0"/>
                    </a:lnTo>
                    <a:cubicBezTo>
                      <a:pt x="29432" y="0"/>
                      <a:pt x="32480" y="762"/>
                      <a:pt x="34480" y="2286"/>
                    </a:cubicBezTo>
                    <a:cubicBezTo>
                      <a:pt x="36195" y="3524"/>
                      <a:pt x="38957" y="6477"/>
                      <a:pt x="39910" y="7715"/>
                    </a:cubicBezTo>
                    <a:cubicBezTo>
                      <a:pt x="41243" y="9620"/>
                      <a:pt x="41719" y="11906"/>
                      <a:pt x="41719" y="14192"/>
                    </a:cubicBezTo>
                    <a:lnTo>
                      <a:pt x="41719" y="49339"/>
                    </a:lnTo>
                    <a:lnTo>
                      <a:pt x="32956" y="49339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7" name="Freihandform: Form 166">
                <a:extLst>
                  <a:ext uri="{FF2B5EF4-FFF2-40B4-BE49-F238E27FC236}">
                    <a16:creationId xmlns:a16="http://schemas.microsoft.com/office/drawing/2014/main" id="{A58A8F11-E52A-4F25-BC53-18D3A75F520D}"/>
                  </a:ext>
                </a:extLst>
              </p:cNvPr>
              <p:cNvSpPr/>
              <p:nvPr/>
            </p:nvSpPr>
            <p:spPr>
              <a:xfrm>
                <a:off x="9524866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6 w 9715"/>
                  <a:gd name="connsiteY1" fmla="*/ 0 h 68484"/>
                  <a:gd name="connsiteX2" fmla="*/ 9716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5 w 9715"/>
                  <a:gd name="connsiteY6" fmla="*/ 19717 h 68484"/>
                  <a:gd name="connsiteX7" fmla="*/ 9335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6" y="0"/>
                    </a:lnTo>
                    <a:lnTo>
                      <a:pt x="9716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5" y="19717"/>
                    </a:lnTo>
                    <a:lnTo>
                      <a:pt x="9335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8" name="Freihandform: Form 167">
                <a:extLst>
                  <a:ext uri="{FF2B5EF4-FFF2-40B4-BE49-F238E27FC236}">
                    <a16:creationId xmlns:a16="http://schemas.microsoft.com/office/drawing/2014/main" id="{2031FFE8-CCC0-4AA6-A031-0A5EFF5C216E}"/>
                  </a:ext>
                </a:extLst>
              </p:cNvPr>
              <p:cNvSpPr/>
              <p:nvPr/>
            </p:nvSpPr>
            <p:spPr>
              <a:xfrm>
                <a:off x="9546869" y="5458461"/>
                <a:ext cx="44195" cy="48863"/>
              </a:xfrm>
              <a:custGeom>
                <a:avLst/>
                <a:gdLst>
                  <a:gd name="connsiteX0" fmla="*/ 27527 w 44195"/>
                  <a:gd name="connsiteY0" fmla="*/ 48863 h 48863"/>
                  <a:gd name="connsiteX1" fmla="*/ 16954 w 44195"/>
                  <a:gd name="connsiteY1" fmla="*/ 48863 h 48863"/>
                  <a:gd name="connsiteX2" fmla="*/ 0 w 44195"/>
                  <a:gd name="connsiteY2" fmla="*/ 0 h 48863"/>
                  <a:gd name="connsiteX3" fmla="*/ 9430 w 44195"/>
                  <a:gd name="connsiteY3" fmla="*/ 0 h 48863"/>
                  <a:gd name="connsiteX4" fmla="*/ 22098 w 44195"/>
                  <a:gd name="connsiteY4" fmla="*/ 38386 h 48863"/>
                  <a:gd name="connsiteX5" fmla="*/ 34861 w 44195"/>
                  <a:gd name="connsiteY5" fmla="*/ 0 h 48863"/>
                  <a:gd name="connsiteX6" fmla="*/ 44196 w 44195"/>
                  <a:gd name="connsiteY6" fmla="*/ 0 h 48863"/>
                  <a:gd name="connsiteX7" fmla="*/ 27527 w 44195"/>
                  <a:gd name="connsiteY7" fmla="*/ 48863 h 4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195" h="48863">
                    <a:moveTo>
                      <a:pt x="27527" y="48863"/>
                    </a:moveTo>
                    <a:lnTo>
                      <a:pt x="16954" y="48863"/>
                    </a:lnTo>
                    <a:lnTo>
                      <a:pt x="0" y="0"/>
                    </a:lnTo>
                    <a:lnTo>
                      <a:pt x="9430" y="0"/>
                    </a:lnTo>
                    <a:lnTo>
                      <a:pt x="22098" y="38386"/>
                    </a:lnTo>
                    <a:lnTo>
                      <a:pt x="34861" y="0"/>
                    </a:lnTo>
                    <a:lnTo>
                      <a:pt x="44196" y="0"/>
                    </a:lnTo>
                    <a:lnTo>
                      <a:pt x="27527" y="4886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69" name="Freihandform: Form 168">
                <a:extLst>
                  <a:ext uri="{FF2B5EF4-FFF2-40B4-BE49-F238E27FC236}">
                    <a16:creationId xmlns:a16="http://schemas.microsoft.com/office/drawing/2014/main" id="{CAEF044B-1E35-4FC0-B94B-C5C9C9CF1433}"/>
                  </a:ext>
                </a:extLst>
              </p:cNvPr>
              <p:cNvSpPr/>
              <p:nvPr/>
            </p:nvSpPr>
            <p:spPr>
              <a:xfrm>
                <a:off x="9601923" y="5457889"/>
                <a:ext cx="41814" cy="50006"/>
              </a:xfrm>
              <a:custGeom>
                <a:avLst/>
                <a:gdLst>
                  <a:gd name="connsiteX0" fmla="*/ 34385 w 41814"/>
                  <a:gd name="connsiteY0" fmla="*/ 47720 h 50006"/>
                  <a:gd name="connsiteX1" fmla="*/ 26670 w 41814"/>
                  <a:gd name="connsiteY1" fmla="*/ 50006 h 50006"/>
                  <a:gd name="connsiteX2" fmla="*/ 15145 w 41814"/>
                  <a:gd name="connsiteY2" fmla="*/ 50006 h 50006"/>
                  <a:gd name="connsiteX3" fmla="*/ 7334 w 41814"/>
                  <a:gd name="connsiteY3" fmla="*/ 47720 h 50006"/>
                  <a:gd name="connsiteX4" fmla="*/ 1905 w 41814"/>
                  <a:gd name="connsiteY4" fmla="*/ 42291 h 50006"/>
                  <a:gd name="connsiteX5" fmla="*/ 0 w 41814"/>
                  <a:gd name="connsiteY5" fmla="*/ 35814 h 50006"/>
                  <a:gd name="connsiteX6" fmla="*/ 0 w 41814"/>
                  <a:gd name="connsiteY6" fmla="*/ 14192 h 50006"/>
                  <a:gd name="connsiteX7" fmla="*/ 1905 w 41814"/>
                  <a:gd name="connsiteY7" fmla="*/ 7715 h 50006"/>
                  <a:gd name="connsiteX8" fmla="*/ 7334 w 41814"/>
                  <a:gd name="connsiteY8" fmla="*/ 2286 h 50006"/>
                  <a:gd name="connsiteX9" fmla="*/ 15145 w 41814"/>
                  <a:gd name="connsiteY9" fmla="*/ 0 h 50006"/>
                  <a:gd name="connsiteX10" fmla="*/ 26479 w 41814"/>
                  <a:gd name="connsiteY10" fmla="*/ 0 h 50006"/>
                  <a:gd name="connsiteX11" fmla="*/ 34290 w 41814"/>
                  <a:gd name="connsiteY11" fmla="*/ 2286 h 50006"/>
                  <a:gd name="connsiteX12" fmla="*/ 39719 w 41814"/>
                  <a:gd name="connsiteY12" fmla="*/ 7715 h 50006"/>
                  <a:gd name="connsiteX13" fmla="*/ 41529 w 41814"/>
                  <a:gd name="connsiteY13" fmla="*/ 14192 h 50006"/>
                  <a:gd name="connsiteX14" fmla="*/ 41529 w 41814"/>
                  <a:gd name="connsiteY14" fmla="*/ 28765 h 50006"/>
                  <a:gd name="connsiteX15" fmla="*/ 8858 w 41814"/>
                  <a:gd name="connsiteY15" fmla="*/ 28765 h 50006"/>
                  <a:gd name="connsiteX16" fmla="*/ 8858 w 41814"/>
                  <a:gd name="connsiteY16" fmla="*/ 35528 h 50006"/>
                  <a:gd name="connsiteX17" fmla="*/ 9049 w 41814"/>
                  <a:gd name="connsiteY17" fmla="*/ 36766 h 50006"/>
                  <a:gd name="connsiteX18" fmla="*/ 15145 w 41814"/>
                  <a:gd name="connsiteY18" fmla="*/ 41624 h 50006"/>
                  <a:gd name="connsiteX19" fmla="*/ 26956 w 41814"/>
                  <a:gd name="connsiteY19" fmla="*/ 41624 h 50006"/>
                  <a:gd name="connsiteX20" fmla="*/ 28289 w 41814"/>
                  <a:gd name="connsiteY20" fmla="*/ 41339 h 50006"/>
                  <a:gd name="connsiteX21" fmla="*/ 32956 w 41814"/>
                  <a:gd name="connsiteY21" fmla="*/ 36766 h 50006"/>
                  <a:gd name="connsiteX22" fmla="*/ 33623 w 41814"/>
                  <a:gd name="connsiteY22" fmla="*/ 35528 h 50006"/>
                  <a:gd name="connsiteX23" fmla="*/ 41815 w 41814"/>
                  <a:gd name="connsiteY23" fmla="*/ 38195 h 50006"/>
                  <a:gd name="connsiteX24" fmla="*/ 34385 w 41814"/>
                  <a:gd name="connsiteY24" fmla="*/ 47625 h 50006"/>
                  <a:gd name="connsiteX25" fmla="*/ 32671 w 41814"/>
                  <a:gd name="connsiteY25" fmla="*/ 14383 h 50006"/>
                  <a:gd name="connsiteX26" fmla="*/ 32575 w 41814"/>
                  <a:gd name="connsiteY26" fmla="*/ 13144 h 50006"/>
                  <a:gd name="connsiteX27" fmla="*/ 27718 w 41814"/>
                  <a:gd name="connsiteY27" fmla="*/ 8572 h 50006"/>
                  <a:gd name="connsiteX28" fmla="*/ 26384 w 41814"/>
                  <a:gd name="connsiteY28" fmla="*/ 8191 h 50006"/>
                  <a:gd name="connsiteX29" fmla="*/ 15145 w 41814"/>
                  <a:gd name="connsiteY29" fmla="*/ 8191 h 50006"/>
                  <a:gd name="connsiteX30" fmla="*/ 9049 w 41814"/>
                  <a:gd name="connsiteY30" fmla="*/ 13049 h 50006"/>
                  <a:gd name="connsiteX31" fmla="*/ 8858 w 41814"/>
                  <a:gd name="connsiteY31" fmla="*/ 14288 h 50006"/>
                  <a:gd name="connsiteX32" fmla="*/ 8858 w 41814"/>
                  <a:gd name="connsiteY32" fmla="*/ 20479 h 50006"/>
                  <a:gd name="connsiteX33" fmla="*/ 32766 w 41814"/>
                  <a:gd name="connsiteY33" fmla="*/ 20479 h 50006"/>
                  <a:gd name="connsiteX34" fmla="*/ 32766 w 41814"/>
                  <a:gd name="connsiteY34" fmla="*/ 14288 h 50006"/>
                  <a:gd name="connsiteX35" fmla="*/ 32766 w 41814"/>
                  <a:gd name="connsiteY35" fmla="*/ 14288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1814" h="50006">
                    <a:moveTo>
                      <a:pt x="34385" y="47720"/>
                    </a:moveTo>
                    <a:cubicBezTo>
                      <a:pt x="32385" y="49244"/>
                      <a:pt x="29432" y="50006"/>
                      <a:pt x="26670" y="50006"/>
                    </a:cubicBezTo>
                    <a:lnTo>
                      <a:pt x="15145" y="50006"/>
                    </a:lnTo>
                    <a:cubicBezTo>
                      <a:pt x="12478" y="50006"/>
                      <a:pt x="9334" y="49244"/>
                      <a:pt x="7334" y="47720"/>
                    </a:cubicBezTo>
                    <a:cubicBezTo>
                      <a:pt x="5620" y="46482"/>
                      <a:pt x="2762" y="43529"/>
                      <a:pt x="1905" y="42291"/>
                    </a:cubicBezTo>
                    <a:cubicBezTo>
                      <a:pt x="571" y="40481"/>
                      <a:pt x="0" y="38195"/>
                      <a:pt x="0" y="35814"/>
                    </a:cubicBezTo>
                    <a:lnTo>
                      <a:pt x="0" y="14192"/>
                    </a:lnTo>
                    <a:cubicBezTo>
                      <a:pt x="0" y="11811"/>
                      <a:pt x="571" y="9525"/>
                      <a:pt x="1905" y="7715"/>
                    </a:cubicBezTo>
                    <a:cubicBezTo>
                      <a:pt x="2762" y="6477"/>
                      <a:pt x="5620" y="3524"/>
                      <a:pt x="7334" y="2286"/>
                    </a:cubicBezTo>
                    <a:cubicBezTo>
                      <a:pt x="9334" y="762"/>
                      <a:pt x="12478" y="0"/>
                      <a:pt x="15145" y="0"/>
                    </a:cubicBezTo>
                    <a:lnTo>
                      <a:pt x="26479" y="0"/>
                    </a:lnTo>
                    <a:cubicBezTo>
                      <a:pt x="29242" y="0"/>
                      <a:pt x="32290" y="762"/>
                      <a:pt x="34290" y="2286"/>
                    </a:cubicBezTo>
                    <a:cubicBezTo>
                      <a:pt x="36004" y="3524"/>
                      <a:pt x="38767" y="6477"/>
                      <a:pt x="39719" y="7715"/>
                    </a:cubicBezTo>
                    <a:cubicBezTo>
                      <a:pt x="41053" y="9620"/>
                      <a:pt x="41529" y="11906"/>
                      <a:pt x="41529" y="14192"/>
                    </a:cubicBezTo>
                    <a:lnTo>
                      <a:pt x="41529" y="28765"/>
                    </a:lnTo>
                    <a:lnTo>
                      <a:pt x="8858" y="28765"/>
                    </a:lnTo>
                    <a:lnTo>
                      <a:pt x="8858" y="35528"/>
                    </a:lnTo>
                    <a:cubicBezTo>
                      <a:pt x="8858" y="36195"/>
                      <a:pt x="8953" y="36671"/>
                      <a:pt x="9049" y="36766"/>
                    </a:cubicBezTo>
                    <a:cubicBezTo>
                      <a:pt x="10001" y="38386"/>
                      <a:pt x="13049" y="41624"/>
                      <a:pt x="15145" y="41624"/>
                    </a:cubicBezTo>
                    <a:lnTo>
                      <a:pt x="26956" y="41624"/>
                    </a:lnTo>
                    <a:cubicBezTo>
                      <a:pt x="27622" y="41624"/>
                      <a:pt x="28003" y="41434"/>
                      <a:pt x="28289" y="41339"/>
                    </a:cubicBezTo>
                    <a:cubicBezTo>
                      <a:pt x="29908" y="40577"/>
                      <a:pt x="32099" y="38290"/>
                      <a:pt x="32956" y="36766"/>
                    </a:cubicBezTo>
                    <a:lnTo>
                      <a:pt x="33623" y="35528"/>
                    </a:lnTo>
                    <a:lnTo>
                      <a:pt x="41815" y="38195"/>
                    </a:lnTo>
                    <a:cubicBezTo>
                      <a:pt x="40386" y="41624"/>
                      <a:pt x="37243" y="45625"/>
                      <a:pt x="34385" y="47625"/>
                    </a:cubicBezTo>
                    <a:moveTo>
                      <a:pt x="32671" y="14383"/>
                    </a:moveTo>
                    <a:cubicBezTo>
                      <a:pt x="32671" y="14383"/>
                      <a:pt x="32671" y="13335"/>
                      <a:pt x="32575" y="13144"/>
                    </a:cubicBezTo>
                    <a:cubicBezTo>
                      <a:pt x="31623" y="11525"/>
                      <a:pt x="29337" y="9525"/>
                      <a:pt x="27718" y="8572"/>
                    </a:cubicBezTo>
                    <a:cubicBezTo>
                      <a:pt x="27337" y="8477"/>
                      <a:pt x="27051" y="8191"/>
                      <a:pt x="26384" y="8191"/>
                    </a:cubicBezTo>
                    <a:lnTo>
                      <a:pt x="15145" y="8191"/>
                    </a:lnTo>
                    <a:cubicBezTo>
                      <a:pt x="12954" y="8191"/>
                      <a:pt x="9906" y="11430"/>
                      <a:pt x="9049" y="13049"/>
                    </a:cubicBezTo>
                    <a:cubicBezTo>
                      <a:pt x="8953" y="13144"/>
                      <a:pt x="8858" y="13621"/>
                      <a:pt x="8858" y="14288"/>
                    </a:cubicBezTo>
                    <a:lnTo>
                      <a:pt x="8858" y="20479"/>
                    </a:lnTo>
                    <a:lnTo>
                      <a:pt x="32766" y="20479"/>
                    </a:lnTo>
                    <a:lnTo>
                      <a:pt x="32766" y="14288"/>
                    </a:lnTo>
                    <a:lnTo>
                      <a:pt x="32766" y="14288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0" name="Freihandform: Form 169">
                <a:extLst>
                  <a:ext uri="{FF2B5EF4-FFF2-40B4-BE49-F238E27FC236}">
                    <a16:creationId xmlns:a16="http://schemas.microsoft.com/office/drawing/2014/main" id="{1CFF8DDA-3884-4A85-81B3-23F241CCA27C}"/>
                  </a:ext>
                </a:extLst>
              </p:cNvPr>
              <p:cNvSpPr/>
              <p:nvPr/>
            </p:nvSpPr>
            <p:spPr>
              <a:xfrm>
                <a:off x="9659740" y="5457889"/>
                <a:ext cx="39814" cy="49339"/>
              </a:xfrm>
              <a:custGeom>
                <a:avLst/>
                <a:gdLst>
                  <a:gd name="connsiteX0" fmla="*/ 31432 w 39814"/>
                  <a:gd name="connsiteY0" fmla="*/ 14383 h 49339"/>
                  <a:gd name="connsiteX1" fmla="*/ 24670 w 39814"/>
                  <a:gd name="connsiteY1" fmla="*/ 8287 h 49339"/>
                  <a:gd name="connsiteX2" fmla="*/ 18574 w 39814"/>
                  <a:gd name="connsiteY2" fmla="*/ 8287 h 49339"/>
                  <a:gd name="connsiteX3" fmla="*/ 9620 w 39814"/>
                  <a:gd name="connsiteY3" fmla="*/ 14383 h 49339"/>
                  <a:gd name="connsiteX4" fmla="*/ 9620 w 39814"/>
                  <a:gd name="connsiteY4" fmla="*/ 49340 h 49339"/>
                  <a:gd name="connsiteX5" fmla="*/ 762 w 39814"/>
                  <a:gd name="connsiteY5" fmla="*/ 49340 h 49339"/>
                  <a:gd name="connsiteX6" fmla="*/ 762 w 39814"/>
                  <a:gd name="connsiteY6" fmla="*/ 9620 h 49339"/>
                  <a:gd name="connsiteX7" fmla="*/ 0 w 39814"/>
                  <a:gd name="connsiteY7" fmla="*/ 571 h 49339"/>
                  <a:gd name="connsiteX8" fmla="*/ 8858 w 39814"/>
                  <a:gd name="connsiteY8" fmla="*/ 571 h 49339"/>
                  <a:gd name="connsiteX9" fmla="*/ 9334 w 39814"/>
                  <a:gd name="connsiteY9" fmla="*/ 4572 h 49339"/>
                  <a:gd name="connsiteX10" fmla="*/ 18288 w 39814"/>
                  <a:gd name="connsiteY10" fmla="*/ 0 h 49339"/>
                  <a:gd name="connsiteX11" fmla="*/ 24479 w 39814"/>
                  <a:gd name="connsiteY11" fmla="*/ 0 h 49339"/>
                  <a:gd name="connsiteX12" fmla="*/ 32194 w 39814"/>
                  <a:gd name="connsiteY12" fmla="*/ 2286 h 49339"/>
                  <a:gd name="connsiteX13" fmla="*/ 39815 w 39814"/>
                  <a:gd name="connsiteY13" fmla="*/ 11811 h 49339"/>
                  <a:gd name="connsiteX14" fmla="*/ 31528 w 39814"/>
                  <a:gd name="connsiteY14" fmla="*/ 14383 h 49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814" h="49339">
                    <a:moveTo>
                      <a:pt x="31432" y="14383"/>
                    </a:moveTo>
                    <a:cubicBezTo>
                      <a:pt x="30194" y="12002"/>
                      <a:pt x="27337" y="8287"/>
                      <a:pt x="24670" y="8287"/>
                    </a:cubicBezTo>
                    <a:lnTo>
                      <a:pt x="18574" y="8287"/>
                    </a:lnTo>
                    <a:cubicBezTo>
                      <a:pt x="16192" y="8287"/>
                      <a:pt x="10763" y="12668"/>
                      <a:pt x="9620" y="14383"/>
                    </a:cubicBezTo>
                    <a:lnTo>
                      <a:pt x="9620" y="49340"/>
                    </a:lnTo>
                    <a:lnTo>
                      <a:pt x="762" y="49340"/>
                    </a:lnTo>
                    <a:lnTo>
                      <a:pt x="762" y="9620"/>
                    </a:lnTo>
                    <a:lnTo>
                      <a:pt x="0" y="571"/>
                    </a:lnTo>
                    <a:lnTo>
                      <a:pt x="8858" y="571"/>
                    </a:lnTo>
                    <a:lnTo>
                      <a:pt x="9334" y="4572"/>
                    </a:lnTo>
                    <a:cubicBezTo>
                      <a:pt x="11621" y="2381"/>
                      <a:pt x="14954" y="0"/>
                      <a:pt x="18288" y="0"/>
                    </a:cubicBezTo>
                    <a:lnTo>
                      <a:pt x="24479" y="0"/>
                    </a:lnTo>
                    <a:cubicBezTo>
                      <a:pt x="27242" y="0"/>
                      <a:pt x="30099" y="762"/>
                      <a:pt x="32194" y="2286"/>
                    </a:cubicBezTo>
                    <a:cubicBezTo>
                      <a:pt x="34766" y="4096"/>
                      <a:pt x="38386" y="8477"/>
                      <a:pt x="39815" y="11811"/>
                    </a:cubicBezTo>
                    <a:lnTo>
                      <a:pt x="31528" y="1438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1" name="Freihandform: Form 170">
                <a:extLst>
                  <a:ext uri="{FF2B5EF4-FFF2-40B4-BE49-F238E27FC236}">
                    <a16:creationId xmlns:a16="http://schemas.microsoft.com/office/drawing/2014/main" id="{6E85569D-FFED-400A-8A92-23DA3FEA84ED}"/>
                  </a:ext>
                </a:extLst>
              </p:cNvPr>
              <p:cNvSpPr/>
              <p:nvPr/>
            </p:nvSpPr>
            <p:spPr>
              <a:xfrm>
                <a:off x="9703364" y="5457889"/>
                <a:ext cx="43910" cy="49815"/>
              </a:xfrm>
              <a:custGeom>
                <a:avLst/>
                <a:gdLst>
                  <a:gd name="connsiteX0" fmla="*/ 35147 w 43910"/>
                  <a:gd name="connsiteY0" fmla="*/ 14573 h 49815"/>
                  <a:gd name="connsiteX1" fmla="*/ 28480 w 43910"/>
                  <a:gd name="connsiteY1" fmla="*/ 8382 h 49815"/>
                  <a:gd name="connsiteX2" fmla="*/ 16383 w 43910"/>
                  <a:gd name="connsiteY2" fmla="*/ 8382 h 49815"/>
                  <a:gd name="connsiteX3" fmla="*/ 15050 w 43910"/>
                  <a:gd name="connsiteY3" fmla="*/ 8572 h 49815"/>
                  <a:gd name="connsiteX4" fmla="*/ 10763 w 43910"/>
                  <a:gd name="connsiteY4" fmla="*/ 12859 h 49815"/>
                  <a:gd name="connsiteX5" fmla="*/ 10668 w 43910"/>
                  <a:gd name="connsiteY5" fmla="*/ 14097 h 49815"/>
                  <a:gd name="connsiteX6" fmla="*/ 10668 w 43910"/>
                  <a:gd name="connsiteY6" fmla="*/ 17240 h 49815"/>
                  <a:gd name="connsiteX7" fmla="*/ 13621 w 43910"/>
                  <a:gd name="connsiteY7" fmla="*/ 19812 h 49815"/>
                  <a:gd name="connsiteX8" fmla="*/ 32385 w 43910"/>
                  <a:gd name="connsiteY8" fmla="*/ 21145 h 49815"/>
                  <a:gd name="connsiteX9" fmla="*/ 43625 w 43910"/>
                  <a:gd name="connsiteY9" fmla="*/ 32194 h 49815"/>
                  <a:gd name="connsiteX10" fmla="*/ 43625 w 43910"/>
                  <a:gd name="connsiteY10" fmla="*/ 36004 h 49815"/>
                  <a:gd name="connsiteX11" fmla="*/ 41624 w 43910"/>
                  <a:gd name="connsiteY11" fmla="*/ 42481 h 49815"/>
                  <a:gd name="connsiteX12" fmla="*/ 36671 w 43910"/>
                  <a:gd name="connsiteY12" fmla="*/ 47530 h 49815"/>
                  <a:gd name="connsiteX13" fmla="*/ 28956 w 43910"/>
                  <a:gd name="connsiteY13" fmla="*/ 49816 h 49815"/>
                  <a:gd name="connsiteX14" fmla="*/ 15431 w 43910"/>
                  <a:gd name="connsiteY14" fmla="*/ 49816 h 49815"/>
                  <a:gd name="connsiteX15" fmla="*/ 7715 w 43910"/>
                  <a:gd name="connsiteY15" fmla="*/ 47530 h 49815"/>
                  <a:gd name="connsiteX16" fmla="*/ 0 w 43910"/>
                  <a:gd name="connsiteY16" fmla="*/ 38100 h 49815"/>
                  <a:gd name="connsiteX17" fmla="*/ 8477 w 43910"/>
                  <a:gd name="connsiteY17" fmla="*/ 35242 h 49815"/>
                  <a:gd name="connsiteX18" fmla="*/ 13811 w 43910"/>
                  <a:gd name="connsiteY18" fmla="*/ 41243 h 49815"/>
                  <a:gd name="connsiteX19" fmla="*/ 15145 w 43910"/>
                  <a:gd name="connsiteY19" fmla="*/ 41434 h 49815"/>
                  <a:gd name="connsiteX20" fmla="*/ 28861 w 43910"/>
                  <a:gd name="connsiteY20" fmla="*/ 41434 h 49815"/>
                  <a:gd name="connsiteX21" fmla="*/ 34671 w 43910"/>
                  <a:gd name="connsiteY21" fmla="*/ 36957 h 49815"/>
                  <a:gd name="connsiteX22" fmla="*/ 34862 w 43910"/>
                  <a:gd name="connsiteY22" fmla="*/ 35719 h 49815"/>
                  <a:gd name="connsiteX23" fmla="*/ 34862 w 43910"/>
                  <a:gd name="connsiteY23" fmla="*/ 31909 h 49815"/>
                  <a:gd name="connsiteX24" fmla="*/ 31813 w 43910"/>
                  <a:gd name="connsiteY24" fmla="*/ 29337 h 49815"/>
                  <a:gd name="connsiteX25" fmla="*/ 13049 w 43910"/>
                  <a:gd name="connsiteY25" fmla="*/ 28099 h 49815"/>
                  <a:gd name="connsiteX26" fmla="*/ 2000 w 43910"/>
                  <a:gd name="connsiteY26" fmla="*/ 17050 h 49815"/>
                  <a:gd name="connsiteX27" fmla="*/ 2000 w 43910"/>
                  <a:gd name="connsiteY27" fmla="*/ 13811 h 49815"/>
                  <a:gd name="connsiteX28" fmla="*/ 3905 w 43910"/>
                  <a:gd name="connsiteY28" fmla="*/ 7334 h 49815"/>
                  <a:gd name="connsiteX29" fmla="*/ 8858 w 43910"/>
                  <a:gd name="connsiteY29" fmla="*/ 2286 h 49815"/>
                  <a:gd name="connsiteX30" fmla="*/ 16574 w 43910"/>
                  <a:gd name="connsiteY30" fmla="*/ 0 h 49815"/>
                  <a:gd name="connsiteX31" fmla="*/ 28385 w 43910"/>
                  <a:gd name="connsiteY31" fmla="*/ 0 h 49815"/>
                  <a:gd name="connsiteX32" fmla="*/ 36100 w 43910"/>
                  <a:gd name="connsiteY32" fmla="*/ 2286 h 49815"/>
                  <a:gd name="connsiteX33" fmla="*/ 43910 w 43910"/>
                  <a:gd name="connsiteY33" fmla="*/ 11716 h 49815"/>
                  <a:gd name="connsiteX34" fmla="*/ 35433 w 43910"/>
                  <a:gd name="connsiteY34" fmla="*/ 14573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3910" h="49815">
                    <a:moveTo>
                      <a:pt x="35147" y="14573"/>
                    </a:moveTo>
                    <a:cubicBezTo>
                      <a:pt x="33814" y="12097"/>
                      <a:pt x="30861" y="8382"/>
                      <a:pt x="28480" y="8382"/>
                    </a:cubicBezTo>
                    <a:lnTo>
                      <a:pt x="16383" y="8382"/>
                    </a:lnTo>
                    <a:cubicBezTo>
                      <a:pt x="15812" y="8382"/>
                      <a:pt x="15240" y="8477"/>
                      <a:pt x="15050" y="8572"/>
                    </a:cubicBezTo>
                    <a:cubicBezTo>
                      <a:pt x="13525" y="9334"/>
                      <a:pt x="11716" y="11240"/>
                      <a:pt x="10763" y="12859"/>
                    </a:cubicBezTo>
                    <a:cubicBezTo>
                      <a:pt x="10668" y="12954"/>
                      <a:pt x="10668" y="13430"/>
                      <a:pt x="10668" y="14097"/>
                    </a:cubicBezTo>
                    <a:lnTo>
                      <a:pt x="10668" y="17240"/>
                    </a:lnTo>
                    <a:cubicBezTo>
                      <a:pt x="10668" y="18478"/>
                      <a:pt x="11811" y="19717"/>
                      <a:pt x="13621" y="19812"/>
                    </a:cubicBezTo>
                    <a:lnTo>
                      <a:pt x="32385" y="21145"/>
                    </a:lnTo>
                    <a:cubicBezTo>
                      <a:pt x="38481" y="21622"/>
                      <a:pt x="43625" y="26194"/>
                      <a:pt x="43625" y="32194"/>
                    </a:cubicBezTo>
                    <a:lnTo>
                      <a:pt x="43625" y="36004"/>
                    </a:lnTo>
                    <a:cubicBezTo>
                      <a:pt x="43625" y="38386"/>
                      <a:pt x="42958" y="40577"/>
                      <a:pt x="41624" y="42481"/>
                    </a:cubicBezTo>
                    <a:cubicBezTo>
                      <a:pt x="40672" y="43815"/>
                      <a:pt x="38291" y="46482"/>
                      <a:pt x="36671" y="47530"/>
                    </a:cubicBezTo>
                    <a:cubicBezTo>
                      <a:pt x="34481" y="48958"/>
                      <a:pt x="31718" y="49816"/>
                      <a:pt x="28956" y="49816"/>
                    </a:cubicBezTo>
                    <a:lnTo>
                      <a:pt x="15431" y="49816"/>
                    </a:lnTo>
                    <a:cubicBezTo>
                      <a:pt x="12668" y="49816"/>
                      <a:pt x="9906" y="49054"/>
                      <a:pt x="7715" y="47530"/>
                    </a:cubicBezTo>
                    <a:cubicBezTo>
                      <a:pt x="5144" y="45720"/>
                      <a:pt x="1810" y="41624"/>
                      <a:pt x="0" y="38100"/>
                    </a:cubicBezTo>
                    <a:lnTo>
                      <a:pt x="8477" y="35242"/>
                    </a:lnTo>
                    <a:cubicBezTo>
                      <a:pt x="9716" y="37719"/>
                      <a:pt x="11811" y="40195"/>
                      <a:pt x="13811" y="41243"/>
                    </a:cubicBezTo>
                    <a:cubicBezTo>
                      <a:pt x="14002" y="41339"/>
                      <a:pt x="14573" y="41434"/>
                      <a:pt x="15145" y="41434"/>
                    </a:cubicBezTo>
                    <a:lnTo>
                      <a:pt x="28861" y="41434"/>
                    </a:lnTo>
                    <a:cubicBezTo>
                      <a:pt x="30861" y="41434"/>
                      <a:pt x="33623" y="38576"/>
                      <a:pt x="34671" y="36957"/>
                    </a:cubicBezTo>
                    <a:cubicBezTo>
                      <a:pt x="34766" y="36862"/>
                      <a:pt x="34862" y="36385"/>
                      <a:pt x="34862" y="35719"/>
                    </a:cubicBezTo>
                    <a:lnTo>
                      <a:pt x="34862" y="31909"/>
                    </a:lnTo>
                    <a:cubicBezTo>
                      <a:pt x="34862" y="30670"/>
                      <a:pt x="33623" y="29432"/>
                      <a:pt x="31813" y="29337"/>
                    </a:cubicBezTo>
                    <a:lnTo>
                      <a:pt x="13049" y="28099"/>
                    </a:lnTo>
                    <a:cubicBezTo>
                      <a:pt x="6953" y="27622"/>
                      <a:pt x="2000" y="23051"/>
                      <a:pt x="2000" y="17050"/>
                    </a:cubicBezTo>
                    <a:lnTo>
                      <a:pt x="2000" y="13811"/>
                    </a:lnTo>
                    <a:cubicBezTo>
                      <a:pt x="2000" y="11430"/>
                      <a:pt x="2572" y="9239"/>
                      <a:pt x="3905" y="7334"/>
                    </a:cubicBezTo>
                    <a:cubicBezTo>
                      <a:pt x="4858" y="6001"/>
                      <a:pt x="7144" y="3334"/>
                      <a:pt x="8858" y="2286"/>
                    </a:cubicBezTo>
                    <a:cubicBezTo>
                      <a:pt x="11049" y="857"/>
                      <a:pt x="13811" y="0"/>
                      <a:pt x="16574" y="0"/>
                    </a:cubicBezTo>
                    <a:lnTo>
                      <a:pt x="28385" y="0"/>
                    </a:lnTo>
                    <a:cubicBezTo>
                      <a:pt x="31147" y="0"/>
                      <a:pt x="33909" y="762"/>
                      <a:pt x="36100" y="2286"/>
                    </a:cubicBezTo>
                    <a:cubicBezTo>
                      <a:pt x="38862" y="4191"/>
                      <a:pt x="42005" y="8096"/>
                      <a:pt x="43910" y="11716"/>
                    </a:cubicBezTo>
                    <a:lnTo>
                      <a:pt x="35433" y="14573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2" name="Freihandform: Form 171">
                <a:extLst>
                  <a:ext uri="{FF2B5EF4-FFF2-40B4-BE49-F238E27FC236}">
                    <a16:creationId xmlns:a16="http://schemas.microsoft.com/office/drawing/2014/main" id="{10869CB2-AA25-4F56-8EEE-848C44138A17}"/>
                  </a:ext>
                </a:extLst>
              </p:cNvPr>
              <p:cNvSpPr/>
              <p:nvPr/>
            </p:nvSpPr>
            <p:spPr>
              <a:xfrm>
                <a:off x="9762991" y="5438839"/>
                <a:ext cx="9715" cy="68484"/>
              </a:xfrm>
              <a:custGeom>
                <a:avLst/>
                <a:gdLst>
                  <a:gd name="connsiteX0" fmla="*/ 0 w 9715"/>
                  <a:gd name="connsiteY0" fmla="*/ 0 h 68484"/>
                  <a:gd name="connsiteX1" fmla="*/ 9715 w 9715"/>
                  <a:gd name="connsiteY1" fmla="*/ 0 h 68484"/>
                  <a:gd name="connsiteX2" fmla="*/ 9715 w 9715"/>
                  <a:gd name="connsiteY2" fmla="*/ 9620 h 68484"/>
                  <a:gd name="connsiteX3" fmla="*/ 0 w 9715"/>
                  <a:gd name="connsiteY3" fmla="*/ 9620 h 68484"/>
                  <a:gd name="connsiteX4" fmla="*/ 0 w 9715"/>
                  <a:gd name="connsiteY4" fmla="*/ 0 h 68484"/>
                  <a:gd name="connsiteX5" fmla="*/ 476 w 9715"/>
                  <a:gd name="connsiteY5" fmla="*/ 19717 h 68484"/>
                  <a:gd name="connsiteX6" fmla="*/ 9334 w 9715"/>
                  <a:gd name="connsiteY6" fmla="*/ 19717 h 68484"/>
                  <a:gd name="connsiteX7" fmla="*/ 9334 w 9715"/>
                  <a:gd name="connsiteY7" fmla="*/ 68485 h 68484"/>
                  <a:gd name="connsiteX8" fmla="*/ 476 w 9715"/>
                  <a:gd name="connsiteY8" fmla="*/ 68485 h 68484"/>
                  <a:gd name="connsiteX9" fmla="*/ 476 w 9715"/>
                  <a:gd name="connsiteY9" fmla="*/ 19717 h 6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15" h="68484">
                    <a:moveTo>
                      <a:pt x="0" y="0"/>
                    </a:moveTo>
                    <a:lnTo>
                      <a:pt x="9715" y="0"/>
                    </a:lnTo>
                    <a:lnTo>
                      <a:pt x="9715" y="9620"/>
                    </a:lnTo>
                    <a:lnTo>
                      <a:pt x="0" y="9620"/>
                    </a:lnTo>
                    <a:lnTo>
                      <a:pt x="0" y="0"/>
                    </a:lnTo>
                    <a:close/>
                    <a:moveTo>
                      <a:pt x="476" y="19717"/>
                    </a:moveTo>
                    <a:lnTo>
                      <a:pt x="9334" y="19717"/>
                    </a:lnTo>
                    <a:lnTo>
                      <a:pt x="9334" y="68485"/>
                    </a:lnTo>
                    <a:lnTo>
                      <a:pt x="476" y="68485"/>
                    </a:lnTo>
                    <a:lnTo>
                      <a:pt x="476" y="19717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3" name="Freihandform: Form 172">
                <a:extLst>
                  <a:ext uri="{FF2B5EF4-FFF2-40B4-BE49-F238E27FC236}">
                    <a16:creationId xmlns:a16="http://schemas.microsoft.com/office/drawing/2014/main" id="{373548C0-A20C-4D2C-A37D-BE60BC9C37EA}"/>
                  </a:ext>
                </a:extLst>
              </p:cNvPr>
              <p:cNvSpPr/>
              <p:nvPr/>
            </p:nvSpPr>
            <p:spPr>
              <a:xfrm>
                <a:off x="9785184" y="5439315"/>
                <a:ext cx="31813" cy="67913"/>
              </a:xfrm>
              <a:custGeom>
                <a:avLst/>
                <a:gdLst>
                  <a:gd name="connsiteX0" fmla="*/ 16859 w 31813"/>
                  <a:gd name="connsiteY0" fmla="*/ 27432 h 67913"/>
                  <a:gd name="connsiteX1" fmla="*/ 16859 w 31813"/>
                  <a:gd name="connsiteY1" fmla="*/ 53340 h 67913"/>
                  <a:gd name="connsiteX2" fmla="*/ 17050 w 31813"/>
                  <a:gd name="connsiteY2" fmla="*/ 54769 h 67913"/>
                  <a:gd name="connsiteX3" fmla="*/ 21527 w 31813"/>
                  <a:gd name="connsiteY3" fmla="*/ 59341 h 67913"/>
                  <a:gd name="connsiteX4" fmla="*/ 23146 w 31813"/>
                  <a:gd name="connsiteY4" fmla="*/ 59627 h 67913"/>
                  <a:gd name="connsiteX5" fmla="*/ 31623 w 31813"/>
                  <a:gd name="connsiteY5" fmla="*/ 59627 h 67913"/>
                  <a:gd name="connsiteX6" fmla="*/ 31623 w 31813"/>
                  <a:gd name="connsiteY6" fmla="*/ 67913 h 67913"/>
                  <a:gd name="connsiteX7" fmla="*/ 23051 w 31813"/>
                  <a:gd name="connsiteY7" fmla="*/ 67913 h 67913"/>
                  <a:gd name="connsiteX8" fmla="*/ 15335 w 31813"/>
                  <a:gd name="connsiteY8" fmla="*/ 65627 h 67913"/>
                  <a:gd name="connsiteX9" fmla="*/ 9906 w 31813"/>
                  <a:gd name="connsiteY9" fmla="*/ 60103 h 67913"/>
                  <a:gd name="connsiteX10" fmla="*/ 8001 w 31813"/>
                  <a:gd name="connsiteY10" fmla="*/ 53531 h 67913"/>
                  <a:gd name="connsiteX11" fmla="*/ 8001 w 31813"/>
                  <a:gd name="connsiteY11" fmla="*/ 27432 h 67913"/>
                  <a:gd name="connsiteX12" fmla="*/ 0 w 31813"/>
                  <a:gd name="connsiteY12" fmla="*/ 27432 h 67913"/>
                  <a:gd name="connsiteX13" fmla="*/ 0 w 31813"/>
                  <a:gd name="connsiteY13" fmla="*/ 19145 h 67913"/>
                  <a:gd name="connsiteX14" fmla="*/ 8001 w 31813"/>
                  <a:gd name="connsiteY14" fmla="*/ 19145 h 67913"/>
                  <a:gd name="connsiteX15" fmla="*/ 8001 w 31813"/>
                  <a:gd name="connsiteY15" fmla="*/ 0 h 67913"/>
                  <a:gd name="connsiteX16" fmla="*/ 16859 w 31813"/>
                  <a:gd name="connsiteY16" fmla="*/ 0 h 67913"/>
                  <a:gd name="connsiteX17" fmla="*/ 16859 w 31813"/>
                  <a:gd name="connsiteY17" fmla="*/ 19145 h 67913"/>
                  <a:gd name="connsiteX18" fmla="*/ 31814 w 31813"/>
                  <a:gd name="connsiteY18" fmla="*/ 19145 h 67913"/>
                  <a:gd name="connsiteX19" fmla="*/ 31814 w 31813"/>
                  <a:gd name="connsiteY19" fmla="*/ 27432 h 67913"/>
                  <a:gd name="connsiteX20" fmla="*/ 16859 w 31813"/>
                  <a:gd name="connsiteY20" fmla="*/ 27432 h 6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1813" h="67913">
                    <a:moveTo>
                      <a:pt x="16859" y="27432"/>
                    </a:moveTo>
                    <a:lnTo>
                      <a:pt x="16859" y="53340"/>
                    </a:lnTo>
                    <a:cubicBezTo>
                      <a:pt x="16859" y="54102"/>
                      <a:pt x="16955" y="54673"/>
                      <a:pt x="17050" y="54769"/>
                    </a:cubicBezTo>
                    <a:cubicBezTo>
                      <a:pt x="18002" y="56388"/>
                      <a:pt x="20003" y="58388"/>
                      <a:pt x="21527" y="59341"/>
                    </a:cubicBezTo>
                    <a:cubicBezTo>
                      <a:pt x="21717" y="59436"/>
                      <a:pt x="22479" y="59627"/>
                      <a:pt x="23146" y="59627"/>
                    </a:cubicBezTo>
                    <a:lnTo>
                      <a:pt x="31623" y="59627"/>
                    </a:lnTo>
                    <a:lnTo>
                      <a:pt x="31623" y="67913"/>
                    </a:lnTo>
                    <a:lnTo>
                      <a:pt x="23051" y="67913"/>
                    </a:lnTo>
                    <a:cubicBezTo>
                      <a:pt x="20288" y="67913"/>
                      <a:pt x="17336" y="67151"/>
                      <a:pt x="15335" y="65627"/>
                    </a:cubicBezTo>
                    <a:cubicBezTo>
                      <a:pt x="13621" y="64389"/>
                      <a:pt x="10763" y="61341"/>
                      <a:pt x="9906" y="60103"/>
                    </a:cubicBezTo>
                    <a:cubicBezTo>
                      <a:pt x="8573" y="58198"/>
                      <a:pt x="8001" y="55912"/>
                      <a:pt x="8001" y="53531"/>
                    </a:cubicBezTo>
                    <a:lnTo>
                      <a:pt x="8001" y="27432"/>
                    </a:lnTo>
                    <a:lnTo>
                      <a:pt x="0" y="27432"/>
                    </a:lnTo>
                    <a:lnTo>
                      <a:pt x="0" y="19145"/>
                    </a:lnTo>
                    <a:lnTo>
                      <a:pt x="8001" y="19145"/>
                    </a:lnTo>
                    <a:lnTo>
                      <a:pt x="8001" y="0"/>
                    </a:lnTo>
                    <a:lnTo>
                      <a:pt x="16859" y="0"/>
                    </a:lnTo>
                    <a:lnTo>
                      <a:pt x="16859" y="19145"/>
                    </a:lnTo>
                    <a:lnTo>
                      <a:pt x="31814" y="19145"/>
                    </a:lnTo>
                    <a:lnTo>
                      <a:pt x="31814" y="27432"/>
                    </a:lnTo>
                    <a:lnTo>
                      <a:pt x="16859" y="27432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4" name="Freihandform: Form 173">
                <a:extLst>
                  <a:ext uri="{FF2B5EF4-FFF2-40B4-BE49-F238E27FC236}">
                    <a16:creationId xmlns:a16="http://schemas.microsoft.com/office/drawing/2014/main" id="{456778CE-AFD1-413E-8683-D608922E3E71}"/>
                  </a:ext>
                </a:extLst>
              </p:cNvPr>
              <p:cNvSpPr/>
              <p:nvPr/>
            </p:nvSpPr>
            <p:spPr>
              <a:xfrm>
                <a:off x="9825570" y="5458556"/>
                <a:ext cx="43910" cy="68294"/>
              </a:xfrm>
              <a:custGeom>
                <a:avLst/>
                <a:gdLst>
                  <a:gd name="connsiteX0" fmla="*/ 21526 w 43910"/>
                  <a:gd name="connsiteY0" fmla="*/ 68294 h 68294"/>
                  <a:gd name="connsiteX1" fmla="*/ 11906 w 43910"/>
                  <a:gd name="connsiteY1" fmla="*/ 68294 h 68294"/>
                  <a:gd name="connsiteX2" fmla="*/ 18479 w 43910"/>
                  <a:gd name="connsiteY2" fmla="*/ 48768 h 68294"/>
                  <a:gd name="connsiteX3" fmla="*/ 16764 w 43910"/>
                  <a:gd name="connsiteY3" fmla="*/ 48768 h 68294"/>
                  <a:gd name="connsiteX4" fmla="*/ 0 w 43910"/>
                  <a:gd name="connsiteY4" fmla="*/ 0 h 68294"/>
                  <a:gd name="connsiteX5" fmla="*/ 9525 w 43910"/>
                  <a:gd name="connsiteY5" fmla="*/ 0 h 68294"/>
                  <a:gd name="connsiteX6" fmla="*/ 22193 w 43910"/>
                  <a:gd name="connsiteY6" fmla="*/ 37909 h 68294"/>
                  <a:gd name="connsiteX7" fmla="*/ 34862 w 43910"/>
                  <a:gd name="connsiteY7" fmla="*/ 0 h 68294"/>
                  <a:gd name="connsiteX8" fmla="*/ 43910 w 43910"/>
                  <a:gd name="connsiteY8" fmla="*/ 0 h 68294"/>
                  <a:gd name="connsiteX9" fmla="*/ 21526 w 43910"/>
                  <a:gd name="connsiteY9" fmla="*/ 68294 h 6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910" h="68294">
                    <a:moveTo>
                      <a:pt x="21526" y="68294"/>
                    </a:moveTo>
                    <a:lnTo>
                      <a:pt x="11906" y="68294"/>
                    </a:lnTo>
                    <a:lnTo>
                      <a:pt x="18479" y="48768"/>
                    </a:lnTo>
                    <a:lnTo>
                      <a:pt x="16764" y="48768"/>
                    </a:lnTo>
                    <a:lnTo>
                      <a:pt x="0" y="0"/>
                    </a:lnTo>
                    <a:lnTo>
                      <a:pt x="9525" y="0"/>
                    </a:lnTo>
                    <a:lnTo>
                      <a:pt x="22193" y="37909"/>
                    </a:lnTo>
                    <a:lnTo>
                      <a:pt x="34862" y="0"/>
                    </a:lnTo>
                    <a:lnTo>
                      <a:pt x="43910" y="0"/>
                    </a:lnTo>
                    <a:lnTo>
                      <a:pt x="21526" y="68294"/>
                    </a:lnTo>
                    <a:close/>
                  </a:path>
                </a:pathLst>
              </a:custGeom>
              <a:solidFill>
                <a:srgbClr val="6D6E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  <p:grpSp>
          <p:nvGrpSpPr>
            <p:cNvPr id="175" name="Gruppieren 174">
              <a:extLst>
                <a:ext uri="{FF2B5EF4-FFF2-40B4-BE49-F238E27FC236}">
                  <a16:creationId xmlns:a16="http://schemas.microsoft.com/office/drawing/2014/main" id="{3E6DF956-2914-436B-9753-B362C19E583B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3024948" y="639638"/>
              <a:ext cx="1582728" cy="685686"/>
              <a:chOff x="6935751" y="735654"/>
              <a:chExt cx="2189701" cy="894016"/>
            </a:xfrm>
          </p:grpSpPr>
          <p:sp>
            <p:nvSpPr>
              <p:cNvPr id="176" name="Freihandform: Form 175">
                <a:extLst>
                  <a:ext uri="{FF2B5EF4-FFF2-40B4-BE49-F238E27FC236}">
                    <a16:creationId xmlns:a16="http://schemas.microsoft.com/office/drawing/2014/main" id="{50E59DD9-3D98-444C-9A2C-AF5FB7CA7A2B}"/>
                  </a:ext>
                </a:extLst>
              </p:cNvPr>
              <p:cNvSpPr/>
              <p:nvPr/>
            </p:nvSpPr>
            <p:spPr>
              <a:xfrm>
                <a:off x="7675557" y="746702"/>
                <a:ext cx="394716" cy="604456"/>
              </a:xfrm>
              <a:custGeom>
                <a:avLst/>
                <a:gdLst>
                  <a:gd name="connsiteX0" fmla="*/ 95 w 394716"/>
                  <a:gd name="connsiteY0" fmla="*/ 0 h 604456"/>
                  <a:gd name="connsiteX1" fmla="*/ 384524 w 394716"/>
                  <a:gd name="connsiteY1" fmla="*/ 0 h 604456"/>
                  <a:gd name="connsiteX2" fmla="*/ 384524 w 394716"/>
                  <a:gd name="connsiteY2" fmla="*/ 98965 h 604456"/>
                  <a:gd name="connsiteX3" fmla="*/ 111728 w 394716"/>
                  <a:gd name="connsiteY3" fmla="*/ 98965 h 604456"/>
                  <a:gd name="connsiteX4" fmla="*/ 111728 w 394716"/>
                  <a:gd name="connsiteY4" fmla="*/ 250698 h 604456"/>
                  <a:gd name="connsiteX5" fmla="*/ 335947 w 394716"/>
                  <a:gd name="connsiteY5" fmla="*/ 250698 h 604456"/>
                  <a:gd name="connsiteX6" fmla="*/ 335947 w 394716"/>
                  <a:gd name="connsiteY6" fmla="*/ 348710 h 604456"/>
                  <a:gd name="connsiteX7" fmla="*/ 111728 w 394716"/>
                  <a:gd name="connsiteY7" fmla="*/ 348710 h 604456"/>
                  <a:gd name="connsiteX8" fmla="*/ 111728 w 394716"/>
                  <a:gd name="connsiteY8" fmla="*/ 505587 h 604456"/>
                  <a:gd name="connsiteX9" fmla="*/ 394716 w 394716"/>
                  <a:gd name="connsiteY9" fmla="*/ 505587 h 604456"/>
                  <a:gd name="connsiteX10" fmla="*/ 394716 w 394716"/>
                  <a:gd name="connsiteY10" fmla="*/ 604457 h 604456"/>
                  <a:gd name="connsiteX11" fmla="*/ 0 w 394716"/>
                  <a:gd name="connsiteY11" fmla="*/ 604457 h 604456"/>
                  <a:gd name="connsiteX12" fmla="*/ 0 w 394716"/>
                  <a:gd name="connsiteY12" fmla="*/ 0 h 604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4716" h="604456">
                    <a:moveTo>
                      <a:pt x="95" y="0"/>
                    </a:moveTo>
                    <a:lnTo>
                      <a:pt x="384524" y="0"/>
                    </a:lnTo>
                    <a:lnTo>
                      <a:pt x="384524" y="98965"/>
                    </a:lnTo>
                    <a:lnTo>
                      <a:pt x="111728" y="98965"/>
                    </a:lnTo>
                    <a:lnTo>
                      <a:pt x="111728" y="250698"/>
                    </a:lnTo>
                    <a:lnTo>
                      <a:pt x="335947" y="250698"/>
                    </a:lnTo>
                    <a:lnTo>
                      <a:pt x="335947" y="348710"/>
                    </a:lnTo>
                    <a:lnTo>
                      <a:pt x="111728" y="348710"/>
                    </a:lnTo>
                    <a:lnTo>
                      <a:pt x="111728" y="505587"/>
                    </a:lnTo>
                    <a:lnTo>
                      <a:pt x="394716" y="505587"/>
                    </a:lnTo>
                    <a:lnTo>
                      <a:pt x="394716" y="604457"/>
                    </a:lnTo>
                    <a:lnTo>
                      <a:pt x="0" y="6044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7" name="Freihandform: Form 176">
                <a:extLst>
                  <a:ext uri="{FF2B5EF4-FFF2-40B4-BE49-F238E27FC236}">
                    <a16:creationId xmlns:a16="http://schemas.microsoft.com/office/drawing/2014/main" id="{71020251-6408-4D4F-BD84-B4827F895741}"/>
                  </a:ext>
                </a:extLst>
              </p:cNvPr>
              <p:cNvSpPr/>
              <p:nvPr/>
            </p:nvSpPr>
            <p:spPr>
              <a:xfrm>
                <a:off x="8177144" y="735654"/>
                <a:ext cx="399764" cy="624839"/>
              </a:xfrm>
              <a:custGeom>
                <a:avLst/>
                <a:gdLst>
                  <a:gd name="connsiteX0" fmla="*/ 365570 w 399764"/>
                  <a:gd name="connsiteY0" fmla="*/ 40100 h 624839"/>
                  <a:gd name="connsiteX1" fmla="*/ 365570 w 399764"/>
                  <a:gd name="connsiteY1" fmla="*/ 151733 h 624839"/>
                  <a:gd name="connsiteX2" fmla="*/ 214693 w 399764"/>
                  <a:gd name="connsiteY2" fmla="*/ 103156 h 624839"/>
                  <a:gd name="connsiteX3" fmla="*/ 116681 w 399764"/>
                  <a:gd name="connsiteY3" fmla="*/ 169640 h 624839"/>
                  <a:gd name="connsiteX4" fmla="*/ 222409 w 399764"/>
                  <a:gd name="connsiteY4" fmla="*/ 258318 h 624839"/>
                  <a:gd name="connsiteX5" fmla="*/ 399764 w 399764"/>
                  <a:gd name="connsiteY5" fmla="*/ 441579 h 624839"/>
                  <a:gd name="connsiteX6" fmla="*/ 179832 w 399764"/>
                  <a:gd name="connsiteY6" fmla="*/ 624840 h 624839"/>
                  <a:gd name="connsiteX7" fmla="*/ 0 w 399764"/>
                  <a:gd name="connsiteY7" fmla="*/ 573691 h 624839"/>
                  <a:gd name="connsiteX8" fmla="*/ 0 w 399764"/>
                  <a:gd name="connsiteY8" fmla="*/ 454343 h 624839"/>
                  <a:gd name="connsiteX9" fmla="*/ 173069 w 399764"/>
                  <a:gd name="connsiteY9" fmla="*/ 522542 h 624839"/>
                  <a:gd name="connsiteX10" fmla="*/ 280511 w 399764"/>
                  <a:gd name="connsiteY10" fmla="*/ 444913 h 624839"/>
                  <a:gd name="connsiteX11" fmla="*/ 160306 w 399764"/>
                  <a:gd name="connsiteY11" fmla="*/ 347758 h 624839"/>
                  <a:gd name="connsiteX12" fmla="*/ 857 w 399764"/>
                  <a:gd name="connsiteY12" fmla="*/ 174689 h 624839"/>
                  <a:gd name="connsiteX13" fmla="*/ 210407 w 399764"/>
                  <a:gd name="connsiteY13" fmla="*/ 0 h 624839"/>
                  <a:gd name="connsiteX14" fmla="*/ 365570 w 399764"/>
                  <a:gd name="connsiteY14" fmla="*/ 40100 h 624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9764" h="624839">
                    <a:moveTo>
                      <a:pt x="365570" y="40100"/>
                    </a:moveTo>
                    <a:lnTo>
                      <a:pt x="365570" y="151733"/>
                    </a:lnTo>
                    <a:cubicBezTo>
                      <a:pt x="323755" y="121920"/>
                      <a:pt x="265843" y="103156"/>
                      <a:pt x="214693" y="103156"/>
                    </a:cubicBezTo>
                    <a:cubicBezTo>
                      <a:pt x="158401" y="103156"/>
                      <a:pt x="116681" y="126206"/>
                      <a:pt x="116681" y="169640"/>
                    </a:cubicBezTo>
                    <a:cubicBezTo>
                      <a:pt x="116681" y="209741"/>
                      <a:pt x="151638" y="229362"/>
                      <a:pt x="222409" y="258318"/>
                    </a:cubicBezTo>
                    <a:cubicBezTo>
                      <a:pt x="309372" y="293275"/>
                      <a:pt x="399764" y="330803"/>
                      <a:pt x="399764" y="441579"/>
                    </a:cubicBezTo>
                    <a:cubicBezTo>
                      <a:pt x="399764" y="552355"/>
                      <a:pt x="311944" y="624840"/>
                      <a:pt x="179832" y="624840"/>
                    </a:cubicBezTo>
                    <a:cubicBezTo>
                      <a:pt x="107347" y="624840"/>
                      <a:pt x="41720" y="603504"/>
                      <a:pt x="0" y="573691"/>
                    </a:cubicBezTo>
                    <a:lnTo>
                      <a:pt x="0" y="454343"/>
                    </a:lnTo>
                    <a:cubicBezTo>
                      <a:pt x="44291" y="492728"/>
                      <a:pt x="108299" y="522542"/>
                      <a:pt x="173069" y="522542"/>
                    </a:cubicBezTo>
                    <a:cubicBezTo>
                      <a:pt x="234410" y="522542"/>
                      <a:pt x="280511" y="493586"/>
                      <a:pt x="280511" y="444913"/>
                    </a:cubicBezTo>
                    <a:cubicBezTo>
                      <a:pt x="280511" y="399764"/>
                      <a:pt x="236220" y="379286"/>
                      <a:pt x="160306" y="347758"/>
                    </a:cubicBezTo>
                    <a:cubicBezTo>
                      <a:pt x="86106" y="317087"/>
                      <a:pt x="857" y="278702"/>
                      <a:pt x="857" y="174689"/>
                    </a:cubicBezTo>
                    <a:cubicBezTo>
                      <a:pt x="857" y="70676"/>
                      <a:pt x="84201" y="0"/>
                      <a:pt x="210407" y="0"/>
                    </a:cubicBezTo>
                    <a:cubicBezTo>
                      <a:pt x="270891" y="0"/>
                      <a:pt x="325469" y="16193"/>
                      <a:pt x="365570" y="4010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8" name="Freihandform: Form 177">
                <a:extLst>
                  <a:ext uri="{FF2B5EF4-FFF2-40B4-BE49-F238E27FC236}">
                    <a16:creationId xmlns:a16="http://schemas.microsoft.com/office/drawing/2014/main" id="{AE131333-DB1B-4D5C-BC34-7A6BE531ABD4}"/>
                  </a:ext>
                </a:extLst>
              </p:cNvPr>
              <p:cNvSpPr/>
              <p:nvPr/>
            </p:nvSpPr>
            <p:spPr>
              <a:xfrm>
                <a:off x="8688160" y="746702"/>
                <a:ext cx="437292" cy="604361"/>
              </a:xfrm>
              <a:custGeom>
                <a:avLst/>
                <a:gdLst>
                  <a:gd name="connsiteX0" fmla="*/ 0 w 437292"/>
                  <a:gd name="connsiteY0" fmla="*/ 0 h 604361"/>
                  <a:gd name="connsiteX1" fmla="*/ 217361 w 437292"/>
                  <a:gd name="connsiteY1" fmla="*/ 0 h 604361"/>
                  <a:gd name="connsiteX2" fmla="*/ 407480 w 437292"/>
                  <a:gd name="connsiteY2" fmla="*/ 161925 h 604361"/>
                  <a:gd name="connsiteX3" fmla="*/ 327374 w 437292"/>
                  <a:gd name="connsiteY3" fmla="*/ 293180 h 604361"/>
                  <a:gd name="connsiteX4" fmla="*/ 437293 w 437292"/>
                  <a:gd name="connsiteY4" fmla="*/ 436436 h 604361"/>
                  <a:gd name="connsiteX5" fmla="*/ 234410 w 437292"/>
                  <a:gd name="connsiteY5" fmla="*/ 604361 h 604361"/>
                  <a:gd name="connsiteX6" fmla="*/ 0 w 437292"/>
                  <a:gd name="connsiteY6" fmla="*/ 604361 h 604361"/>
                  <a:gd name="connsiteX7" fmla="*/ 0 w 437292"/>
                  <a:gd name="connsiteY7" fmla="*/ 0 h 604361"/>
                  <a:gd name="connsiteX8" fmla="*/ 210598 w 437292"/>
                  <a:gd name="connsiteY8" fmla="*/ 252317 h 604361"/>
                  <a:gd name="connsiteX9" fmla="*/ 292417 w 437292"/>
                  <a:gd name="connsiteY9" fmla="*/ 172212 h 604361"/>
                  <a:gd name="connsiteX10" fmla="*/ 208026 w 437292"/>
                  <a:gd name="connsiteY10" fmla="*/ 98012 h 604361"/>
                  <a:gd name="connsiteX11" fmla="*/ 111728 w 437292"/>
                  <a:gd name="connsiteY11" fmla="*/ 98012 h 604361"/>
                  <a:gd name="connsiteX12" fmla="*/ 111728 w 437292"/>
                  <a:gd name="connsiteY12" fmla="*/ 252413 h 604361"/>
                  <a:gd name="connsiteX13" fmla="*/ 210598 w 437292"/>
                  <a:gd name="connsiteY13" fmla="*/ 252413 h 604361"/>
                  <a:gd name="connsiteX14" fmla="*/ 231934 w 437292"/>
                  <a:gd name="connsiteY14" fmla="*/ 505492 h 604361"/>
                  <a:gd name="connsiteX15" fmla="*/ 320612 w 437292"/>
                  <a:gd name="connsiteY15" fmla="*/ 422815 h 604361"/>
                  <a:gd name="connsiteX16" fmla="*/ 225171 w 437292"/>
                  <a:gd name="connsiteY16" fmla="*/ 342710 h 604361"/>
                  <a:gd name="connsiteX17" fmla="*/ 111824 w 437292"/>
                  <a:gd name="connsiteY17" fmla="*/ 342710 h 604361"/>
                  <a:gd name="connsiteX18" fmla="*/ 111824 w 437292"/>
                  <a:gd name="connsiteY18" fmla="*/ 505492 h 604361"/>
                  <a:gd name="connsiteX19" fmla="*/ 232029 w 437292"/>
                  <a:gd name="connsiteY19" fmla="*/ 505492 h 604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7292" h="604361">
                    <a:moveTo>
                      <a:pt x="0" y="0"/>
                    </a:moveTo>
                    <a:lnTo>
                      <a:pt x="217361" y="0"/>
                    </a:lnTo>
                    <a:cubicBezTo>
                      <a:pt x="330708" y="0"/>
                      <a:pt x="407480" y="63056"/>
                      <a:pt x="407480" y="161925"/>
                    </a:cubicBezTo>
                    <a:cubicBezTo>
                      <a:pt x="407480" y="226695"/>
                      <a:pt x="369094" y="273558"/>
                      <a:pt x="327374" y="293180"/>
                    </a:cubicBezTo>
                    <a:cubicBezTo>
                      <a:pt x="379381" y="305943"/>
                      <a:pt x="437293" y="357092"/>
                      <a:pt x="437293" y="436436"/>
                    </a:cubicBezTo>
                    <a:cubicBezTo>
                      <a:pt x="437293" y="537877"/>
                      <a:pt x="355473" y="604361"/>
                      <a:pt x="234410" y="604361"/>
                    </a:cubicBezTo>
                    <a:lnTo>
                      <a:pt x="0" y="604361"/>
                    </a:lnTo>
                    <a:lnTo>
                      <a:pt x="0" y="0"/>
                    </a:lnTo>
                    <a:close/>
                    <a:moveTo>
                      <a:pt x="210598" y="252317"/>
                    </a:moveTo>
                    <a:cubicBezTo>
                      <a:pt x="264319" y="252317"/>
                      <a:pt x="292417" y="215646"/>
                      <a:pt x="292417" y="172212"/>
                    </a:cubicBezTo>
                    <a:cubicBezTo>
                      <a:pt x="292417" y="132112"/>
                      <a:pt x="260890" y="98012"/>
                      <a:pt x="208026" y="98012"/>
                    </a:cubicBezTo>
                    <a:lnTo>
                      <a:pt x="111728" y="98012"/>
                    </a:lnTo>
                    <a:lnTo>
                      <a:pt x="111728" y="252413"/>
                    </a:lnTo>
                    <a:lnTo>
                      <a:pt x="210598" y="252413"/>
                    </a:lnTo>
                    <a:close/>
                    <a:moveTo>
                      <a:pt x="231934" y="505492"/>
                    </a:moveTo>
                    <a:cubicBezTo>
                      <a:pt x="283940" y="505492"/>
                      <a:pt x="320612" y="469678"/>
                      <a:pt x="320612" y="422815"/>
                    </a:cubicBezTo>
                    <a:cubicBezTo>
                      <a:pt x="320612" y="375952"/>
                      <a:pt x="279654" y="342710"/>
                      <a:pt x="225171" y="342710"/>
                    </a:cubicBezTo>
                    <a:lnTo>
                      <a:pt x="111824" y="342710"/>
                    </a:lnTo>
                    <a:lnTo>
                      <a:pt x="111824" y="505492"/>
                    </a:lnTo>
                    <a:lnTo>
                      <a:pt x="232029" y="50549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79" name="Freihandform: Form 178">
                <a:extLst>
                  <a:ext uri="{FF2B5EF4-FFF2-40B4-BE49-F238E27FC236}">
                    <a16:creationId xmlns:a16="http://schemas.microsoft.com/office/drawing/2014/main" id="{078C69BC-EC59-470F-9502-3AA579A40282}"/>
                  </a:ext>
                </a:extLst>
              </p:cNvPr>
              <p:cNvSpPr/>
              <p:nvPr/>
            </p:nvSpPr>
            <p:spPr>
              <a:xfrm>
                <a:off x="6935751" y="1489176"/>
                <a:ext cx="99917" cy="138017"/>
              </a:xfrm>
              <a:custGeom>
                <a:avLst/>
                <a:gdLst>
                  <a:gd name="connsiteX0" fmla="*/ 0 w 99917"/>
                  <a:gd name="connsiteY0" fmla="*/ 95 h 138017"/>
                  <a:gd name="connsiteX1" fmla="*/ 49625 w 99917"/>
                  <a:gd name="connsiteY1" fmla="*/ 95 h 138017"/>
                  <a:gd name="connsiteX2" fmla="*/ 93059 w 99917"/>
                  <a:gd name="connsiteY2" fmla="*/ 37052 h 138017"/>
                  <a:gd name="connsiteX3" fmla="*/ 74771 w 99917"/>
                  <a:gd name="connsiteY3" fmla="*/ 67056 h 138017"/>
                  <a:gd name="connsiteX4" fmla="*/ 99917 w 99917"/>
                  <a:gd name="connsiteY4" fmla="*/ 99727 h 138017"/>
                  <a:gd name="connsiteX5" fmla="*/ 53626 w 99917"/>
                  <a:gd name="connsiteY5" fmla="*/ 138017 h 138017"/>
                  <a:gd name="connsiteX6" fmla="*/ 0 w 99917"/>
                  <a:gd name="connsiteY6" fmla="*/ 138017 h 138017"/>
                  <a:gd name="connsiteX7" fmla="*/ 0 w 99917"/>
                  <a:gd name="connsiteY7" fmla="*/ 0 h 138017"/>
                  <a:gd name="connsiteX8" fmla="*/ 48101 w 99917"/>
                  <a:gd name="connsiteY8" fmla="*/ 57721 h 138017"/>
                  <a:gd name="connsiteX9" fmla="*/ 66770 w 99917"/>
                  <a:gd name="connsiteY9" fmla="*/ 39433 h 138017"/>
                  <a:gd name="connsiteX10" fmla="*/ 47530 w 99917"/>
                  <a:gd name="connsiteY10" fmla="*/ 22479 h 138017"/>
                  <a:gd name="connsiteX11" fmla="*/ 25527 w 99917"/>
                  <a:gd name="connsiteY11" fmla="*/ 22479 h 138017"/>
                  <a:gd name="connsiteX12" fmla="*/ 25527 w 99917"/>
                  <a:gd name="connsiteY12" fmla="*/ 57721 h 138017"/>
                  <a:gd name="connsiteX13" fmla="*/ 48101 w 99917"/>
                  <a:gd name="connsiteY13" fmla="*/ 57721 h 138017"/>
                  <a:gd name="connsiteX14" fmla="*/ 52959 w 99917"/>
                  <a:gd name="connsiteY14" fmla="*/ 115538 h 138017"/>
                  <a:gd name="connsiteX15" fmla="*/ 73247 w 99917"/>
                  <a:gd name="connsiteY15" fmla="*/ 96679 h 138017"/>
                  <a:gd name="connsiteX16" fmla="*/ 51435 w 99917"/>
                  <a:gd name="connsiteY16" fmla="*/ 78391 h 138017"/>
                  <a:gd name="connsiteX17" fmla="*/ 25527 w 99917"/>
                  <a:gd name="connsiteY17" fmla="*/ 78391 h 138017"/>
                  <a:gd name="connsiteX18" fmla="*/ 25527 w 99917"/>
                  <a:gd name="connsiteY18" fmla="*/ 115538 h 138017"/>
                  <a:gd name="connsiteX19" fmla="*/ 52959 w 99917"/>
                  <a:gd name="connsiteY19" fmla="*/ 115538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9917" h="138017">
                    <a:moveTo>
                      <a:pt x="0" y="95"/>
                    </a:moveTo>
                    <a:lnTo>
                      <a:pt x="49625" y="95"/>
                    </a:lnTo>
                    <a:cubicBezTo>
                      <a:pt x="75533" y="95"/>
                      <a:pt x="93059" y="14478"/>
                      <a:pt x="93059" y="37052"/>
                    </a:cubicBezTo>
                    <a:cubicBezTo>
                      <a:pt x="93059" y="51816"/>
                      <a:pt x="84296" y="62579"/>
                      <a:pt x="74771" y="67056"/>
                    </a:cubicBezTo>
                    <a:cubicBezTo>
                      <a:pt x="86678" y="70009"/>
                      <a:pt x="99917" y="81629"/>
                      <a:pt x="99917" y="99727"/>
                    </a:cubicBezTo>
                    <a:cubicBezTo>
                      <a:pt x="99917" y="122873"/>
                      <a:pt x="81248" y="138017"/>
                      <a:pt x="53626" y="138017"/>
                    </a:cubicBezTo>
                    <a:lnTo>
                      <a:pt x="0" y="138017"/>
                    </a:lnTo>
                    <a:lnTo>
                      <a:pt x="0" y="0"/>
                    </a:lnTo>
                    <a:close/>
                    <a:moveTo>
                      <a:pt x="48101" y="57721"/>
                    </a:moveTo>
                    <a:cubicBezTo>
                      <a:pt x="60389" y="57721"/>
                      <a:pt x="66770" y="49340"/>
                      <a:pt x="66770" y="39433"/>
                    </a:cubicBezTo>
                    <a:cubicBezTo>
                      <a:pt x="66770" y="30290"/>
                      <a:pt x="59531" y="22479"/>
                      <a:pt x="47530" y="22479"/>
                    </a:cubicBezTo>
                    <a:lnTo>
                      <a:pt x="25527" y="22479"/>
                    </a:lnTo>
                    <a:lnTo>
                      <a:pt x="25527" y="57721"/>
                    </a:lnTo>
                    <a:lnTo>
                      <a:pt x="48101" y="57721"/>
                    </a:lnTo>
                    <a:close/>
                    <a:moveTo>
                      <a:pt x="52959" y="115538"/>
                    </a:moveTo>
                    <a:cubicBezTo>
                      <a:pt x="64865" y="115538"/>
                      <a:pt x="73247" y="107347"/>
                      <a:pt x="73247" y="96679"/>
                    </a:cubicBezTo>
                    <a:cubicBezTo>
                      <a:pt x="73247" y="86011"/>
                      <a:pt x="63913" y="78391"/>
                      <a:pt x="51435" y="78391"/>
                    </a:cubicBezTo>
                    <a:lnTo>
                      <a:pt x="25527" y="78391"/>
                    </a:lnTo>
                    <a:lnTo>
                      <a:pt x="25527" y="115538"/>
                    </a:lnTo>
                    <a:lnTo>
                      <a:pt x="52959" y="115538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0" name="Freihandform: Form 179">
                <a:extLst>
                  <a:ext uri="{FF2B5EF4-FFF2-40B4-BE49-F238E27FC236}">
                    <a16:creationId xmlns:a16="http://schemas.microsoft.com/office/drawing/2014/main" id="{45A9CB02-0393-4238-ABEB-35BF8326F79D}"/>
                  </a:ext>
                </a:extLst>
              </p:cNvPr>
              <p:cNvSpPr/>
              <p:nvPr/>
            </p:nvSpPr>
            <p:spPr>
              <a:xfrm>
                <a:off x="7090151" y="1489176"/>
                <a:ext cx="111061" cy="140493"/>
              </a:xfrm>
              <a:custGeom>
                <a:avLst/>
                <a:gdLst>
                  <a:gd name="connsiteX0" fmla="*/ 110871 w 111061"/>
                  <a:gd name="connsiteY0" fmla="*/ 86773 h 140493"/>
                  <a:gd name="connsiteX1" fmla="*/ 55436 w 111061"/>
                  <a:gd name="connsiteY1" fmla="*/ 140494 h 140493"/>
                  <a:gd name="connsiteX2" fmla="*/ 0 w 111061"/>
                  <a:gd name="connsiteY2" fmla="*/ 86773 h 140493"/>
                  <a:gd name="connsiteX3" fmla="*/ 0 w 111061"/>
                  <a:gd name="connsiteY3" fmla="*/ 0 h 140493"/>
                  <a:gd name="connsiteX4" fmla="*/ 25718 w 111061"/>
                  <a:gd name="connsiteY4" fmla="*/ 0 h 140493"/>
                  <a:gd name="connsiteX5" fmla="*/ 25718 w 111061"/>
                  <a:gd name="connsiteY5" fmla="*/ 85058 h 140493"/>
                  <a:gd name="connsiteX6" fmla="*/ 55531 w 111061"/>
                  <a:gd name="connsiteY6" fmla="*/ 116205 h 140493"/>
                  <a:gd name="connsiteX7" fmla="*/ 85344 w 111061"/>
                  <a:gd name="connsiteY7" fmla="*/ 85058 h 140493"/>
                  <a:gd name="connsiteX8" fmla="*/ 85344 w 111061"/>
                  <a:gd name="connsiteY8" fmla="*/ 0 h 140493"/>
                  <a:gd name="connsiteX9" fmla="*/ 111062 w 111061"/>
                  <a:gd name="connsiteY9" fmla="*/ 0 h 140493"/>
                  <a:gd name="connsiteX10" fmla="*/ 111062 w 111061"/>
                  <a:gd name="connsiteY10" fmla="*/ 86773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1061" h="140493">
                    <a:moveTo>
                      <a:pt x="110871" y="86773"/>
                    </a:moveTo>
                    <a:cubicBezTo>
                      <a:pt x="110871" y="116777"/>
                      <a:pt x="87916" y="140494"/>
                      <a:pt x="55436" y="140494"/>
                    </a:cubicBezTo>
                    <a:cubicBezTo>
                      <a:pt x="22955" y="140494"/>
                      <a:pt x="0" y="116777"/>
                      <a:pt x="0" y="86773"/>
                    </a:cubicBezTo>
                    <a:lnTo>
                      <a:pt x="0" y="0"/>
                    </a:lnTo>
                    <a:lnTo>
                      <a:pt x="25718" y="0"/>
                    </a:lnTo>
                    <a:lnTo>
                      <a:pt x="25718" y="85058"/>
                    </a:lnTo>
                    <a:cubicBezTo>
                      <a:pt x="25718" y="102584"/>
                      <a:pt x="37624" y="116205"/>
                      <a:pt x="55531" y="116205"/>
                    </a:cubicBezTo>
                    <a:cubicBezTo>
                      <a:pt x="73438" y="116205"/>
                      <a:pt x="85344" y="102584"/>
                      <a:pt x="85344" y="85058"/>
                    </a:cubicBezTo>
                    <a:lnTo>
                      <a:pt x="85344" y="0"/>
                    </a:lnTo>
                    <a:lnTo>
                      <a:pt x="111062" y="0"/>
                    </a:lnTo>
                    <a:lnTo>
                      <a:pt x="111062" y="86773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1" name="Freihandform: Form 180">
                <a:extLst>
                  <a:ext uri="{FF2B5EF4-FFF2-40B4-BE49-F238E27FC236}">
                    <a16:creationId xmlns:a16="http://schemas.microsoft.com/office/drawing/2014/main" id="{2FBDBBB4-9649-4E98-B618-6755B837A363}"/>
                  </a:ext>
                </a:extLst>
              </p:cNvPr>
              <p:cNvSpPr/>
              <p:nvPr/>
            </p:nvSpPr>
            <p:spPr>
              <a:xfrm>
                <a:off x="7257600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49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49" y="75724"/>
                      <a:pt x="91249" y="100965"/>
                    </a:cubicBezTo>
                    <a:cubicBezTo>
                      <a:pt x="91249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0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1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12EBFB41-973F-4BE9-B726-05AC436F13E5}"/>
                  </a:ext>
                </a:extLst>
              </p:cNvPr>
              <p:cNvSpPr/>
              <p:nvPr/>
            </p:nvSpPr>
            <p:spPr>
              <a:xfrm>
                <a:off x="7404476" y="1489081"/>
                <a:ext cx="25717" cy="138207"/>
              </a:xfrm>
              <a:custGeom>
                <a:avLst/>
                <a:gdLst>
                  <a:gd name="connsiteX0" fmla="*/ 0 w 25717"/>
                  <a:gd name="connsiteY0" fmla="*/ 0 h 138207"/>
                  <a:gd name="connsiteX1" fmla="*/ 25718 w 25717"/>
                  <a:gd name="connsiteY1" fmla="*/ 0 h 138207"/>
                  <a:gd name="connsiteX2" fmla="*/ 25718 w 25717"/>
                  <a:gd name="connsiteY2" fmla="*/ 138208 h 138207"/>
                  <a:gd name="connsiteX3" fmla="*/ 0 w 25717"/>
                  <a:gd name="connsiteY3" fmla="*/ 138208 h 138207"/>
                  <a:gd name="connsiteX4" fmla="*/ 0 w 25717"/>
                  <a:gd name="connsiteY4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7" h="138207">
                    <a:moveTo>
                      <a:pt x="0" y="0"/>
                    </a:moveTo>
                    <a:lnTo>
                      <a:pt x="25718" y="0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3" name="Freihandform: Form 182">
                <a:extLst>
                  <a:ext uri="{FF2B5EF4-FFF2-40B4-BE49-F238E27FC236}">
                    <a16:creationId xmlns:a16="http://schemas.microsoft.com/office/drawing/2014/main" id="{9F2BA6E4-D71F-4964-B464-CC83D02588B9}"/>
                  </a:ext>
                </a:extLst>
              </p:cNvPr>
              <p:cNvSpPr/>
              <p:nvPr/>
            </p:nvSpPr>
            <p:spPr>
              <a:xfrm>
                <a:off x="7494582" y="1489081"/>
                <a:ext cx="116205" cy="138207"/>
              </a:xfrm>
              <a:custGeom>
                <a:avLst/>
                <a:gdLst>
                  <a:gd name="connsiteX0" fmla="*/ 116205 w 116205"/>
                  <a:gd name="connsiteY0" fmla="*/ 0 h 138207"/>
                  <a:gd name="connsiteX1" fmla="*/ 116205 w 116205"/>
                  <a:gd name="connsiteY1" fmla="*/ 138208 h 138207"/>
                  <a:gd name="connsiteX2" fmla="*/ 94393 w 116205"/>
                  <a:gd name="connsiteY2" fmla="*/ 138208 h 138207"/>
                  <a:gd name="connsiteX3" fmla="*/ 25718 w 116205"/>
                  <a:gd name="connsiteY3" fmla="*/ 44768 h 138207"/>
                  <a:gd name="connsiteX4" fmla="*/ 25718 w 116205"/>
                  <a:gd name="connsiteY4" fmla="*/ 138208 h 138207"/>
                  <a:gd name="connsiteX5" fmla="*/ 0 w 116205"/>
                  <a:gd name="connsiteY5" fmla="*/ 138208 h 138207"/>
                  <a:gd name="connsiteX6" fmla="*/ 0 w 116205"/>
                  <a:gd name="connsiteY6" fmla="*/ 0 h 138207"/>
                  <a:gd name="connsiteX7" fmla="*/ 22003 w 116205"/>
                  <a:gd name="connsiteY7" fmla="*/ 0 h 138207"/>
                  <a:gd name="connsiteX8" fmla="*/ 90678 w 116205"/>
                  <a:gd name="connsiteY8" fmla="*/ 93440 h 138207"/>
                  <a:gd name="connsiteX9" fmla="*/ 90678 w 116205"/>
                  <a:gd name="connsiteY9" fmla="*/ 0 h 138207"/>
                  <a:gd name="connsiteX10" fmla="*/ 116205 w 116205"/>
                  <a:gd name="connsiteY10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6205" h="138207">
                    <a:moveTo>
                      <a:pt x="116205" y="0"/>
                    </a:moveTo>
                    <a:lnTo>
                      <a:pt x="116205" y="138208"/>
                    </a:lnTo>
                    <a:lnTo>
                      <a:pt x="94393" y="138208"/>
                    </a:lnTo>
                    <a:lnTo>
                      <a:pt x="25718" y="44768"/>
                    </a:lnTo>
                    <a:lnTo>
                      <a:pt x="25718" y="138208"/>
                    </a:lnTo>
                    <a:lnTo>
                      <a:pt x="0" y="138208"/>
                    </a:lnTo>
                    <a:lnTo>
                      <a:pt x="0" y="0"/>
                    </a:lnTo>
                    <a:lnTo>
                      <a:pt x="22003" y="0"/>
                    </a:lnTo>
                    <a:lnTo>
                      <a:pt x="90678" y="93440"/>
                    </a:lnTo>
                    <a:lnTo>
                      <a:pt x="90678" y="0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4" name="Freihandform: Form 183">
                <a:extLst>
                  <a:ext uri="{FF2B5EF4-FFF2-40B4-BE49-F238E27FC236}">
                    <a16:creationId xmlns:a16="http://schemas.microsoft.com/office/drawing/2014/main" id="{2319B9C3-3CB2-4A8D-8E0F-21A1D1B30082}"/>
                  </a:ext>
                </a:extLst>
              </p:cNvPr>
              <p:cNvSpPr/>
              <p:nvPr/>
            </p:nvSpPr>
            <p:spPr>
              <a:xfrm>
                <a:off x="7675271" y="1489272"/>
                <a:ext cx="90106" cy="138017"/>
              </a:xfrm>
              <a:custGeom>
                <a:avLst/>
                <a:gdLst>
                  <a:gd name="connsiteX0" fmla="*/ 95 w 90106"/>
                  <a:gd name="connsiteY0" fmla="*/ 0 h 138017"/>
                  <a:gd name="connsiteX1" fmla="*/ 87821 w 90106"/>
                  <a:gd name="connsiteY1" fmla="*/ 0 h 138017"/>
                  <a:gd name="connsiteX2" fmla="*/ 87821 w 90106"/>
                  <a:gd name="connsiteY2" fmla="*/ 22574 h 138017"/>
                  <a:gd name="connsiteX3" fmla="*/ 25527 w 90106"/>
                  <a:gd name="connsiteY3" fmla="*/ 22574 h 138017"/>
                  <a:gd name="connsiteX4" fmla="*/ 25527 w 90106"/>
                  <a:gd name="connsiteY4" fmla="*/ 57245 h 138017"/>
                  <a:gd name="connsiteX5" fmla="*/ 76676 w 90106"/>
                  <a:gd name="connsiteY5" fmla="*/ 57245 h 138017"/>
                  <a:gd name="connsiteX6" fmla="*/ 76676 w 90106"/>
                  <a:gd name="connsiteY6" fmla="*/ 79629 h 138017"/>
                  <a:gd name="connsiteX7" fmla="*/ 25527 w 90106"/>
                  <a:gd name="connsiteY7" fmla="*/ 79629 h 138017"/>
                  <a:gd name="connsiteX8" fmla="*/ 25527 w 90106"/>
                  <a:gd name="connsiteY8" fmla="*/ 115443 h 138017"/>
                  <a:gd name="connsiteX9" fmla="*/ 90106 w 90106"/>
                  <a:gd name="connsiteY9" fmla="*/ 115443 h 138017"/>
                  <a:gd name="connsiteX10" fmla="*/ 90106 w 90106"/>
                  <a:gd name="connsiteY10" fmla="*/ 138017 h 138017"/>
                  <a:gd name="connsiteX11" fmla="*/ 0 w 90106"/>
                  <a:gd name="connsiteY11" fmla="*/ 138017 h 138017"/>
                  <a:gd name="connsiteX12" fmla="*/ 0 w 90106"/>
                  <a:gd name="connsiteY12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0106" h="138017">
                    <a:moveTo>
                      <a:pt x="95" y="0"/>
                    </a:moveTo>
                    <a:lnTo>
                      <a:pt x="87821" y="0"/>
                    </a:lnTo>
                    <a:lnTo>
                      <a:pt x="87821" y="22574"/>
                    </a:lnTo>
                    <a:lnTo>
                      <a:pt x="25527" y="22574"/>
                    </a:lnTo>
                    <a:lnTo>
                      <a:pt x="25527" y="57245"/>
                    </a:lnTo>
                    <a:lnTo>
                      <a:pt x="76676" y="57245"/>
                    </a:lnTo>
                    <a:lnTo>
                      <a:pt x="76676" y="79629"/>
                    </a:lnTo>
                    <a:lnTo>
                      <a:pt x="25527" y="79629"/>
                    </a:lnTo>
                    <a:lnTo>
                      <a:pt x="25527" y="115443"/>
                    </a:lnTo>
                    <a:lnTo>
                      <a:pt x="90106" y="115443"/>
                    </a:lnTo>
                    <a:lnTo>
                      <a:pt x="90106" y="138017"/>
                    </a:lnTo>
                    <a:lnTo>
                      <a:pt x="0" y="1380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5" name="Freihandform: Form 184">
                <a:extLst>
                  <a:ext uri="{FF2B5EF4-FFF2-40B4-BE49-F238E27FC236}">
                    <a16:creationId xmlns:a16="http://schemas.microsoft.com/office/drawing/2014/main" id="{E92817D9-B409-4928-AAD7-0FAA884437CC}"/>
                  </a:ext>
                </a:extLst>
              </p:cNvPr>
              <p:cNvSpPr/>
              <p:nvPr/>
            </p:nvSpPr>
            <p:spPr>
              <a:xfrm>
                <a:off x="7815289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6" name="Freihandform: Form 185">
                <a:extLst>
                  <a:ext uri="{FF2B5EF4-FFF2-40B4-BE49-F238E27FC236}">
                    <a16:creationId xmlns:a16="http://schemas.microsoft.com/office/drawing/2014/main" id="{E76A19CB-D157-4E77-A8FA-AB352497EA3D}"/>
                  </a:ext>
                </a:extLst>
              </p:cNvPr>
              <p:cNvSpPr/>
              <p:nvPr/>
            </p:nvSpPr>
            <p:spPr>
              <a:xfrm>
                <a:off x="7955973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0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69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6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1" y="86678"/>
                      <a:pt x="36576" y="79439"/>
                    </a:cubicBezTo>
                    <a:cubicBezTo>
                      <a:pt x="19621" y="72390"/>
                      <a:pt x="190" y="63722"/>
                      <a:pt x="190" y="39910"/>
                    </a:cubicBezTo>
                    <a:cubicBezTo>
                      <a:pt x="190" y="16097"/>
                      <a:pt x="19240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7" name="Freihandform: Form 186">
                <a:extLst>
                  <a:ext uri="{FF2B5EF4-FFF2-40B4-BE49-F238E27FC236}">
                    <a16:creationId xmlns:a16="http://schemas.microsoft.com/office/drawing/2014/main" id="{07F8AC61-DB5C-4746-B00D-2327AC3DDB5D}"/>
                  </a:ext>
                </a:extLst>
              </p:cNvPr>
              <p:cNvSpPr/>
              <p:nvPr/>
            </p:nvSpPr>
            <p:spPr>
              <a:xfrm>
                <a:off x="8174096" y="1486604"/>
                <a:ext cx="91249" cy="142779"/>
              </a:xfrm>
              <a:custGeom>
                <a:avLst/>
                <a:gdLst>
                  <a:gd name="connsiteX0" fmla="*/ 83534 w 91249"/>
                  <a:gd name="connsiteY0" fmla="*/ 9335 h 142779"/>
                  <a:gd name="connsiteX1" fmla="*/ 83534 w 91249"/>
                  <a:gd name="connsiteY1" fmla="*/ 34862 h 142779"/>
                  <a:gd name="connsiteX2" fmla="*/ 49054 w 91249"/>
                  <a:gd name="connsiteY2" fmla="*/ 23813 h 142779"/>
                  <a:gd name="connsiteX3" fmla="*/ 26670 w 91249"/>
                  <a:gd name="connsiteY3" fmla="*/ 38957 h 142779"/>
                  <a:gd name="connsiteX4" fmla="*/ 50768 w 91249"/>
                  <a:gd name="connsiteY4" fmla="*/ 59150 h 142779"/>
                  <a:gd name="connsiteX5" fmla="*/ 91250 w 91249"/>
                  <a:gd name="connsiteY5" fmla="*/ 100965 h 142779"/>
                  <a:gd name="connsiteX6" fmla="*/ 41053 w 91249"/>
                  <a:gd name="connsiteY6" fmla="*/ 142780 h 142779"/>
                  <a:gd name="connsiteX7" fmla="*/ 0 w 91249"/>
                  <a:gd name="connsiteY7" fmla="*/ 131064 h 142779"/>
                  <a:gd name="connsiteX8" fmla="*/ 0 w 91249"/>
                  <a:gd name="connsiteY8" fmla="*/ 103823 h 142779"/>
                  <a:gd name="connsiteX9" fmla="*/ 39529 w 91249"/>
                  <a:gd name="connsiteY9" fmla="*/ 119348 h 142779"/>
                  <a:gd name="connsiteX10" fmla="*/ 64008 w 91249"/>
                  <a:gd name="connsiteY10" fmla="*/ 101632 h 142779"/>
                  <a:gd name="connsiteX11" fmla="*/ 36576 w 91249"/>
                  <a:gd name="connsiteY11" fmla="*/ 79439 h 142779"/>
                  <a:gd name="connsiteX12" fmla="*/ 191 w 91249"/>
                  <a:gd name="connsiteY12" fmla="*/ 39910 h 142779"/>
                  <a:gd name="connsiteX13" fmla="*/ 48101 w 91249"/>
                  <a:gd name="connsiteY13" fmla="*/ 0 h 142779"/>
                  <a:gd name="connsiteX14" fmla="*/ 83534 w 91249"/>
                  <a:gd name="connsiteY14" fmla="*/ 9144 h 14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1249" h="142779">
                    <a:moveTo>
                      <a:pt x="83534" y="9335"/>
                    </a:moveTo>
                    <a:lnTo>
                      <a:pt x="83534" y="34862"/>
                    </a:lnTo>
                    <a:cubicBezTo>
                      <a:pt x="74009" y="28004"/>
                      <a:pt x="60770" y="23813"/>
                      <a:pt x="49054" y="23813"/>
                    </a:cubicBezTo>
                    <a:cubicBezTo>
                      <a:pt x="36195" y="23813"/>
                      <a:pt x="26670" y="29051"/>
                      <a:pt x="26670" y="38957"/>
                    </a:cubicBezTo>
                    <a:cubicBezTo>
                      <a:pt x="26670" y="48101"/>
                      <a:pt x="34671" y="52578"/>
                      <a:pt x="50768" y="59150"/>
                    </a:cubicBezTo>
                    <a:cubicBezTo>
                      <a:pt x="70580" y="67151"/>
                      <a:pt x="91250" y="75724"/>
                      <a:pt x="91250" y="100965"/>
                    </a:cubicBezTo>
                    <a:cubicBezTo>
                      <a:pt x="91250" y="126206"/>
                      <a:pt x="71247" y="142780"/>
                      <a:pt x="41053" y="142780"/>
                    </a:cubicBezTo>
                    <a:cubicBezTo>
                      <a:pt x="24479" y="142780"/>
                      <a:pt x="9525" y="137922"/>
                      <a:pt x="0" y="131064"/>
                    </a:cubicBezTo>
                    <a:lnTo>
                      <a:pt x="0" y="103823"/>
                    </a:lnTo>
                    <a:cubicBezTo>
                      <a:pt x="10097" y="112586"/>
                      <a:pt x="24670" y="119348"/>
                      <a:pt x="39529" y="119348"/>
                    </a:cubicBezTo>
                    <a:cubicBezTo>
                      <a:pt x="53531" y="119348"/>
                      <a:pt x="64008" y="112776"/>
                      <a:pt x="64008" y="101632"/>
                    </a:cubicBezTo>
                    <a:cubicBezTo>
                      <a:pt x="64008" y="91345"/>
                      <a:pt x="53912" y="86678"/>
                      <a:pt x="36576" y="79439"/>
                    </a:cubicBezTo>
                    <a:cubicBezTo>
                      <a:pt x="19622" y="72390"/>
                      <a:pt x="191" y="63722"/>
                      <a:pt x="191" y="39910"/>
                    </a:cubicBezTo>
                    <a:cubicBezTo>
                      <a:pt x="191" y="16097"/>
                      <a:pt x="19241" y="0"/>
                      <a:pt x="48101" y="0"/>
                    </a:cubicBezTo>
                    <a:cubicBezTo>
                      <a:pt x="61913" y="0"/>
                      <a:pt x="74390" y="3715"/>
                      <a:pt x="83534" y="9144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8" name="Freihandform: Form 187">
                <a:extLst>
                  <a:ext uri="{FF2B5EF4-FFF2-40B4-BE49-F238E27FC236}">
                    <a16:creationId xmlns:a16="http://schemas.microsoft.com/office/drawing/2014/main" id="{AA1791A0-CE5B-4AC9-925E-886388394D2F}"/>
                  </a:ext>
                </a:extLst>
              </p:cNvPr>
              <p:cNvSpPr/>
              <p:nvPr/>
            </p:nvSpPr>
            <p:spPr>
              <a:xfrm>
                <a:off x="8312494" y="1486700"/>
                <a:ext cx="109156" cy="142875"/>
              </a:xfrm>
              <a:custGeom>
                <a:avLst/>
                <a:gdLst>
                  <a:gd name="connsiteX0" fmla="*/ 108966 w 109156"/>
                  <a:gd name="connsiteY0" fmla="*/ 132207 h 142875"/>
                  <a:gd name="connsiteX1" fmla="*/ 70866 w 109156"/>
                  <a:gd name="connsiteY1" fmla="*/ 142875 h 142875"/>
                  <a:gd name="connsiteX2" fmla="*/ 0 w 109156"/>
                  <a:gd name="connsiteY2" fmla="*/ 71819 h 142875"/>
                  <a:gd name="connsiteX3" fmla="*/ 70676 w 109156"/>
                  <a:gd name="connsiteY3" fmla="*/ 0 h 142875"/>
                  <a:gd name="connsiteX4" fmla="*/ 106871 w 109156"/>
                  <a:gd name="connsiteY4" fmla="*/ 8763 h 142875"/>
                  <a:gd name="connsiteX5" fmla="*/ 106871 w 109156"/>
                  <a:gd name="connsiteY5" fmla="*/ 35052 h 142875"/>
                  <a:gd name="connsiteX6" fmla="*/ 73247 w 109156"/>
                  <a:gd name="connsiteY6" fmla="*/ 24575 h 142875"/>
                  <a:gd name="connsiteX7" fmla="*/ 26575 w 109156"/>
                  <a:gd name="connsiteY7" fmla="*/ 71438 h 142875"/>
                  <a:gd name="connsiteX8" fmla="*/ 74105 w 109156"/>
                  <a:gd name="connsiteY8" fmla="*/ 118110 h 142875"/>
                  <a:gd name="connsiteX9" fmla="*/ 109157 w 109156"/>
                  <a:gd name="connsiteY9" fmla="*/ 105823 h 142875"/>
                  <a:gd name="connsiteX10" fmla="*/ 109157 w 109156"/>
                  <a:gd name="connsiteY10" fmla="*/ 132112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56" h="142875">
                    <a:moveTo>
                      <a:pt x="108966" y="132207"/>
                    </a:moveTo>
                    <a:cubicBezTo>
                      <a:pt x="100203" y="138779"/>
                      <a:pt x="86011" y="142875"/>
                      <a:pt x="70866" y="142875"/>
                    </a:cubicBezTo>
                    <a:cubicBezTo>
                      <a:pt x="30766" y="142875"/>
                      <a:pt x="0" y="112490"/>
                      <a:pt x="0" y="71819"/>
                    </a:cubicBezTo>
                    <a:cubicBezTo>
                      <a:pt x="0" y="31147"/>
                      <a:pt x="31147" y="0"/>
                      <a:pt x="70676" y="0"/>
                    </a:cubicBezTo>
                    <a:cubicBezTo>
                      <a:pt x="84296" y="0"/>
                      <a:pt x="96583" y="2953"/>
                      <a:pt x="106871" y="8763"/>
                    </a:cubicBezTo>
                    <a:lnTo>
                      <a:pt x="106871" y="35052"/>
                    </a:lnTo>
                    <a:cubicBezTo>
                      <a:pt x="96774" y="28289"/>
                      <a:pt x="84868" y="24575"/>
                      <a:pt x="73247" y="24575"/>
                    </a:cubicBezTo>
                    <a:cubicBezTo>
                      <a:pt x="46196" y="24575"/>
                      <a:pt x="26575" y="44387"/>
                      <a:pt x="26575" y="71438"/>
                    </a:cubicBezTo>
                    <a:cubicBezTo>
                      <a:pt x="26575" y="100870"/>
                      <a:pt x="48197" y="118110"/>
                      <a:pt x="74105" y="118110"/>
                    </a:cubicBezTo>
                    <a:cubicBezTo>
                      <a:pt x="86201" y="118110"/>
                      <a:pt x="98774" y="113824"/>
                      <a:pt x="109157" y="105823"/>
                    </a:cubicBezTo>
                    <a:lnTo>
                      <a:pt x="109157" y="132112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89" name="Freihandform: Form 188">
                <a:extLst>
                  <a:ext uri="{FF2B5EF4-FFF2-40B4-BE49-F238E27FC236}">
                    <a16:creationId xmlns:a16="http://schemas.microsoft.com/office/drawing/2014/main" id="{F12A1C3E-B763-4DC2-B42C-A66D4F5613E5}"/>
                  </a:ext>
                </a:extLst>
              </p:cNvPr>
              <p:cNvSpPr/>
              <p:nvPr/>
            </p:nvSpPr>
            <p:spPr>
              <a:xfrm>
                <a:off x="8477086" y="1489081"/>
                <a:ext cx="114680" cy="138207"/>
              </a:xfrm>
              <a:custGeom>
                <a:avLst/>
                <a:gdLst>
                  <a:gd name="connsiteX0" fmla="*/ 0 w 114680"/>
                  <a:gd name="connsiteY0" fmla="*/ 0 h 138207"/>
                  <a:gd name="connsiteX1" fmla="*/ 25717 w 114680"/>
                  <a:gd name="connsiteY1" fmla="*/ 0 h 138207"/>
                  <a:gd name="connsiteX2" fmla="*/ 25717 w 114680"/>
                  <a:gd name="connsiteY2" fmla="*/ 57055 h 138207"/>
                  <a:gd name="connsiteX3" fmla="*/ 88963 w 114680"/>
                  <a:gd name="connsiteY3" fmla="*/ 57055 h 138207"/>
                  <a:gd name="connsiteX4" fmla="*/ 88963 w 114680"/>
                  <a:gd name="connsiteY4" fmla="*/ 0 h 138207"/>
                  <a:gd name="connsiteX5" fmla="*/ 114681 w 114680"/>
                  <a:gd name="connsiteY5" fmla="*/ 0 h 138207"/>
                  <a:gd name="connsiteX6" fmla="*/ 114681 w 114680"/>
                  <a:gd name="connsiteY6" fmla="*/ 138208 h 138207"/>
                  <a:gd name="connsiteX7" fmla="*/ 88963 w 114680"/>
                  <a:gd name="connsiteY7" fmla="*/ 138208 h 138207"/>
                  <a:gd name="connsiteX8" fmla="*/ 88963 w 114680"/>
                  <a:gd name="connsiteY8" fmla="*/ 79820 h 138207"/>
                  <a:gd name="connsiteX9" fmla="*/ 25717 w 114680"/>
                  <a:gd name="connsiteY9" fmla="*/ 79820 h 138207"/>
                  <a:gd name="connsiteX10" fmla="*/ 25717 w 114680"/>
                  <a:gd name="connsiteY10" fmla="*/ 138208 h 138207"/>
                  <a:gd name="connsiteX11" fmla="*/ 0 w 114680"/>
                  <a:gd name="connsiteY11" fmla="*/ 138208 h 138207"/>
                  <a:gd name="connsiteX12" fmla="*/ 0 w 114680"/>
                  <a:gd name="connsiteY12" fmla="*/ 0 h 138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680" h="138207">
                    <a:moveTo>
                      <a:pt x="0" y="0"/>
                    </a:moveTo>
                    <a:lnTo>
                      <a:pt x="25717" y="0"/>
                    </a:lnTo>
                    <a:lnTo>
                      <a:pt x="25717" y="57055"/>
                    </a:lnTo>
                    <a:lnTo>
                      <a:pt x="88963" y="57055"/>
                    </a:lnTo>
                    <a:lnTo>
                      <a:pt x="88963" y="0"/>
                    </a:lnTo>
                    <a:lnTo>
                      <a:pt x="114681" y="0"/>
                    </a:lnTo>
                    <a:lnTo>
                      <a:pt x="114681" y="138208"/>
                    </a:lnTo>
                    <a:lnTo>
                      <a:pt x="88963" y="138208"/>
                    </a:lnTo>
                    <a:lnTo>
                      <a:pt x="88963" y="79820"/>
                    </a:lnTo>
                    <a:lnTo>
                      <a:pt x="25717" y="79820"/>
                    </a:lnTo>
                    <a:lnTo>
                      <a:pt x="25717" y="138208"/>
                    </a:lnTo>
                    <a:lnTo>
                      <a:pt x="0" y="138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0" name="Freihandform: Form 189">
                <a:extLst>
                  <a:ext uri="{FF2B5EF4-FFF2-40B4-BE49-F238E27FC236}">
                    <a16:creationId xmlns:a16="http://schemas.microsoft.com/office/drawing/2014/main" id="{A11864A0-8982-4DD4-8CE8-8C6CDEEF4EA6}"/>
                  </a:ext>
                </a:extLst>
              </p:cNvPr>
              <p:cNvSpPr/>
              <p:nvPr/>
            </p:nvSpPr>
            <p:spPr>
              <a:xfrm>
                <a:off x="8647774" y="1486795"/>
                <a:ext cx="143446" cy="142875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8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8 w 143446"/>
                  <a:gd name="connsiteY6" fmla="*/ 118300 h 142875"/>
                  <a:gd name="connsiteX7" fmla="*/ 116967 w 143446"/>
                  <a:gd name="connsiteY7" fmla="*/ 71438 h 142875"/>
                  <a:gd name="connsiteX8" fmla="*/ 71818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8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8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8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1" name="Freihandform: Form 190">
                <a:extLst>
                  <a:ext uri="{FF2B5EF4-FFF2-40B4-BE49-F238E27FC236}">
                    <a16:creationId xmlns:a16="http://schemas.microsoft.com/office/drawing/2014/main" id="{B09FA63F-CC50-4600-B457-182018B75919}"/>
                  </a:ext>
                </a:extLst>
              </p:cNvPr>
              <p:cNvSpPr/>
              <p:nvPr/>
            </p:nvSpPr>
            <p:spPr>
              <a:xfrm>
                <a:off x="8838655" y="1486795"/>
                <a:ext cx="143446" cy="142875"/>
              </a:xfrm>
              <a:custGeom>
                <a:avLst/>
                <a:gdLst>
                  <a:gd name="connsiteX0" fmla="*/ 143446 w 143446"/>
                  <a:gd name="connsiteY0" fmla="*/ 71438 h 142875"/>
                  <a:gd name="connsiteX1" fmla="*/ 71628 w 143446"/>
                  <a:gd name="connsiteY1" fmla="*/ 142875 h 142875"/>
                  <a:gd name="connsiteX2" fmla="*/ 0 w 143446"/>
                  <a:gd name="connsiteY2" fmla="*/ 71438 h 142875"/>
                  <a:gd name="connsiteX3" fmla="*/ 71819 w 143446"/>
                  <a:gd name="connsiteY3" fmla="*/ 0 h 142875"/>
                  <a:gd name="connsiteX4" fmla="*/ 143446 w 143446"/>
                  <a:gd name="connsiteY4" fmla="*/ 71438 h 142875"/>
                  <a:gd name="connsiteX5" fmla="*/ 26479 w 143446"/>
                  <a:gd name="connsiteY5" fmla="*/ 71438 h 142875"/>
                  <a:gd name="connsiteX6" fmla="*/ 71819 w 143446"/>
                  <a:gd name="connsiteY6" fmla="*/ 118300 h 142875"/>
                  <a:gd name="connsiteX7" fmla="*/ 116967 w 143446"/>
                  <a:gd name="connsiteY7" fmla="*/ 71438 h 142875"/>
                  <a:gd name="connsiteX8" fmla="*/ 71819 w 143446"/>
                  <a:gd name="connsiteY8" fmla="*/ 24575 h 142875"/>
                  <a:gd name="connsiteX9" fmla="*/ 26479 w 143446"/>
                  <a:gd name="connsiteY9" fmla="*/ 7143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446" h="142875">
                    <a:moveTo>
                      <a:pt x="143446" y="71438"/>
                    </a:moveTo>
                    <a:cubicBezTo>
                      <a:pt x="143446" y="111728"/>
                      <a:pt x="112681" y="142875"/>
                      <a:pt x="71628" y="142875"/>
                    </a:cubicBezTo>
                    <a:cubicBezTo>
                      <a:pt x="30575" y="142875"/>
                      <a:pt x="0" y="111728"/>
                      <a:pt x="0" y="71438"/>
                    </a:cubicBezTo>
                    <a:cubicBezTo>
                      <a:pt x="0" y="31147"/>
                      <a:pt x="30766" y="0"/>
                      <a:pt x="71819" y="0"/>
                    </a:cubicBezTo>
                    <a:cubicBezTo>
                      <a:pt x="112871" y="0"/>
                      <a:pt x="143446" y="31147"/>
                      <a:pt x="143446" y="71438"/>
                    </a:cubicBezTo>
                    <a:close/>
                    <a:moveTo>
                      <a:pt x="26479" y="71438"/>
                    </a:moveTo>
                    <a:cubicBezTo>
                      <a:pt x="26479" y="98108"/>
                      <a:pt x="46101" y="118300"/>
                      <a:pt x="71819" y="118300"/>
                    </a:cubicBezTo>
                    <a:cubicBezTo>
                      <a:pt x="97536" y="118300"/>
                      <a:pt x="116967" y="98108"/>
                      <a:pt x="116967" y="71438"/>
                    </a:cubicBezTo>
                    <a:cubicBezTo>
                      <a:pt x="116967" y="44767"/>
                      <a:pt x="97346" y="24575"/>
                      <a:pt x="71819" y="24575"/>
                    </a:cubicBezTo>
                    <a:cubicBezTo>
                      <a:pt x="46292" y="24575"/>
                      <a:pt x="26479" y="44577"/>
                      <a:pt x="26479" y="71438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2" name="Freihandform: Form 191">
                <a:extLst>
                  <a:ext uri="{FF2B5EF4-FFF2-40B4-BE49-F238E27FC236}">
                    <a16:creationId xmlns:a16="http://schemas.microsoft.com/office/drawing/2014/main" id="{29C4F544-33AE-451F-92DB-50C0085DDC61}"/>
                  </a:ext>
                </a:extLst>
              </p:cNvPr>
              <p:cNvSpPr/>
              <p:nvPr/>
            </p:nvSpPr>
            <p:spPr>
              <a:xfrm>
                <a:off x="9038109" y="1489176"/>
                <a:ext cx="82772" cy="138017"/>
              </a:xfrm>
              <a:custGeom>
                <a:avLst/>
                <a:gdLst>
                  <a:gd name="connsiteX0" fmla="*/ 0 w 82772"/>
                  <a:gd name="connsiteY0" fmla="*/ 95 h 138017"/>
                  <a:gd name="connsiteX1" fmla="*/ 25717 w 82772"/>
                  <a:gd name="connsiteY1" fmla="*/ 95 h 138017"/>
                  <a:gd name="connsiteX2" fmla="*/ 25717 w 82772"/>
                  <a:gd name="connsiteY2" fmla="*/ 115062 h 138017"/>
                  <a:gd name="connsiteX3" fmla="*/ 82772 w 82772"/>
                  <a:gd name="connsiteY3" fmla="*/ 115062 h 138017"/>
                  <a:gd name="connsiteX4" fmla="*/ 82772 w 82772"/>
                  <a:gd name="connsiteY4" fmla="*/ 138017 h 138017"/>
                  <a:gd name="connsiteX5" fmla="*/ 95 w 82772"/>
                  <a:gd name="connsiteY5" fmla="*/ 138017 h 138017"/>
                  <a:gd name="connsiteX6" fmla="*/ 95 w 82772"/>
                  <a:gd name="connsiteY6" fmla="*/ 0 h 138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772" h="138017">
                    <a:moveTo>
                      <a:pt x="0" y="95"/>
                    </a:moveTo>
                    <a:lnTo>
                      <a:pt x="25717" y="95"/>
                    </a:lnTo>
                    <a:lnTo>
                      <a:pt x="25717" y="115062"/>
                    </a:lnTo>
                    <a:lnTo>
                      <a:pt x="82772" y="115062"/>
                    </a:lnTo>
                    <a:lnTo>
                      <a:pt x="82772" y="138017"/>
                    </a:lnTo>
                    <a:lnTo>
                      <a:pt x="95" y="138017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3" name="Freihandform: Form 192">
                <a:extLst>
                  <a:ext uri="{FF2B5EF4-FFF2-40B4-BE49-F238E27FC236}">
                    <a16:creationId xmlns:a16="http://schemas.microsoft.com/office/drawing/2014/main" id="{FF276966-5BF8-416E-9FAC-C9C3337788DA}"/>
                  </a:ext>
                </a:extLst>
              </p:cNvPr>
              <p:cNvSpPr/>
              <p:nvPr/>
            </p:nvSpPr>
            <p:spPr>
              <a:xfrm>
                <a:off x="6935751" y="746893"/>
                <a:ext cx="605313" cy="605313"/>
              </a:xfrm>
              <a:custGeom>
                <a:avLst/>
                <a:gdLst>
                  <a:gd name="connsiteX0" fmla="*/ 605314 w 605313"/>
                  <a:gd name="connsiteY0" fmla="*/ 10287 h 605313"/>
                  <a:gd name="connsiteX1" fmla="*/ 605314 w 605313"/>
                  <a:gd name="connsiteY1" fmla="*/ 0 h 605313"/>
                  <a:gd name="connsiteX2" fmla="*/ 0 w 605313"/>
                  <a:gd name="connsiteY2" fmla="*/ 0 h 605313"/>
                  <a:gd name="connsiteX3" fmla="*/ 0 w 605313"/>
                  <a:gd name="connsiteY3" fmla="*/ 605314 h 605313"/>
                  <a:gd name="connsiteX4" fmla="*/ 10287 w 605313"/>
                  <a:gd name="connsiteY4" fmla="*/ 605314 h 605313"/>
                  <a:gd name="connsiteX5" fmla="*/ 605314 w 605313"/>
                  <a:gd name="connsiteY5" fmla="*/ 10287 h 60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313" h="605313">
                    <a:moveTo>
                      <a:pt x="605314" y="10287"/>
                    </a:moveTo>
                    <a:lnTo>
                      <a:pt x="605314" y="0"/>
                    </a:lnTo>
                    <a:lnTo>
                      <a:pt x="0" y="0"/>
                    </a:lnTo>
                    <a:lnTo>
                      <a:pt x="0" y="605314"/>
                    </a:lnTo>
                    <a:lnTo>
                      <a:pt x="10287" y="605314"/>
                    </a:lnTo>
                    <a:cubicBezTo>
                      <a:pt x="10287" y="278702"/>
                      <a:pt x="230219" y="10287"/>
                      <a:pt x="605314" y="10287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  <p:sp>
            <p:nvSpPr>
              <p:cNvPr id="194" name="Freihandform: Form 193">
                <a:extLst>
                  <a:ext uri="{FF2B5EF4-FFF2-40B4-BE49-F238E27FC236}">
                    <a16:creationId xmlns:a16="http://schemas.microsoft.com/office/drawing/2014/main" id="{289C441B-AD26-41FC-9A28-6ABE27835397}"/>
                  </a:ext>
                </a:extLst>
              </p:cNvPr>
              <p:cNvSpPr/>
              <p:nvPr/>
            </p:nvSpPr>
            <p:spPr>
              <a:xfrm>
                <a:off x="7047860" y="853763"/>
                <a:ext cx="493204" cy="498443"/>
              </a:xfrm>
              <a:custGeom>
                <a:avLst/>
                <a:gdLst>
                  <a:gd name="connsiteX0" fmla="*/ 493205 w 493204"/>
                  <a:gd name="connsiteY0" fmla="*/ 498443 h 498443"/>
                  <a:gd name="connsiteX1" fmla="*/ 493205 w 493204"/>
                  <a:gd name="connsiteY1" fmla="*/ 0 h 498443"/>
                  <a:gd name="connsiteX2" fmla="*/ 0 w 493204"/>
                  <a:gd name="connsiteY2" fmla="*/ 493205 h 498443"/>
                  <a:gd name="connsiteX3" fmla="*/ 95 w 493204"/>
                  <a:gd name="connsiteY3" fmla="*/ 498443 h 498443"/>
                  <a:gd name="connsiteX4" fmla="*/ 493205 w 493204"/>
                  <a:gd name="connsiteY4" fmla="*/ 498443 h 498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3204" h="498443">
                    <a:moveTo>
                      <a:pt x="493205" y="498443"/>
                    </a:moveTo>
                    <a:lnTo>
                      <a:pt x="493205" y="0"/>
                    </a:lnTo>
                    <a:cubicBezTo>
                      <a:pt x="220790" y="0"/>
                      <a:pt x="0" y="220790"/>
                      <a:pt x="0" y="493205"/>
                    </a:cubicBezTo>
                    <a:cubicBezTo>
                      <a:pt x="0" y="494919"/>
                      <a:pt x="95" y="496729"/>
                      <a:pt x="95" y="498443"/>
                    </a:cubicBezTo>
                    <a:lnTo>
                      <a:pt x="493205" y="498443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noProof="0" dirty="0"/>
              </a:p>
            </p:txBody>
          </p:sp>
        </p:grpSp>
        <p:pic>
          <p:nvPicPr>
            <p:cNvPr id="195" name="Grafik 194">
              <a:extLst>
                <a:ext uri="{FF2B5EF4-FFF2-40B4-BE49-F238E27FC236}">
                  <a16:creationId xmlns:a16="http://schemas.microsoft.com/office/drawing/2014/main" id="{29A419A1-3966-4A62-B400-2F18271682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687" y="620826"/>
              <a:ext cx="1087530" cy="727190"/>
            </a:xfrm>
            <a:prstGeom prst="rect">
              <a:avLst/>
            </a:prstGeom>
          </p:spPr>
        </p:pic>
        <p:pic>
          <p:nvPicPr>
            <p:cNvPr id="196" name="Picture 5">
              <a:extLst>
                <a:ext uri="{FF2B5EF4-FFF2-40B4-BE49-F238E27FC236}">
                  <a16:creationId xmlns:a16="http://schemas.microsoft.com/office/drawing/2014/main" id="{C2C7655A-8819-4D42-BD5B-9EBFF11DA21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1610" y="647004"/>
              <a:ext cx="716742" cy="726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5" name="Bildplatzhalter 12">
            <a:extLst>
              <a:ext uri="{FF2B5EF4-FFF2-40B4-BE49-F238E27FC236}">
                <a16:creationId xmlns:a16="http://schemas.microsoft.com/office/drawing/2014/main" id="{223E4C07-E946-41A1-8FA1-132027943E0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546715" y="180355"/>
            <a:ext cx="1477963" cy="528637"/>
          </a:xfrm>
        </p:spPr>
        <p:txBody>
          <a:bodyPr/>
          <a:lstStyle>
            <a:lvl1pPr>
              <a:defRPr lang="en-GB" sz="1400" kern="1200" noProof="0" dirty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en-GB" noProof="0" dirty="0"/>
              <a:t>You can place your logo(s) her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0023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5">
          <p15:clr>
            <a:srgbClr val="FBAE40"/>
          </p15:clr>
        </p15:guide>
        <p15:guide id="3" orient="horz" pos="2999">
          <p15:clr>
            <a:srgbClr val="FBAE40"/>
          </p15:clr>
        </p15:guide>
        <p15:guide id="4" orient="horz" pos="340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1BC677-BA04-C99E-6C35-DBD64BC5A7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8865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7" imgW="480" imgH="481" progId="TCLayout.ActiveDocument.1">
                  <p:embed/>
                </p:oleObj>
              </mc:Choice>
              <mc:Fallback>
                <p:oleObj name="think-cell Folie" r:id="rId7" imgW="480" imgH="48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1BC677-BA04-C99E-6C35-DBD64BC5A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FBDDC1-0EA7-453B-D14B-FA2B17948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620713"/>
            <a:ext cx="11017249" cy="3447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endParaRPr lang="en-GB" noProof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0915E9-2A59-92E1-2C3B-727EE3C648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1628775"/>
            <a:ext cx="1101725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Erste Ebene, Franklin Gothic Book, 14pt</a:t>
            </a:r>
          </a:p>
          <a:p>
            <a:pPr lvl="1"/>
            <a:r>
              <a:rPr lang="en-GB" noProof="0"/>
              <a:t>Zweite Ebene, Franklin Gothic Book, 14pt</a:t>
            </a:r>
          </a:p>
          <a:p>
            <a:pPr lvl="2"/>
            <a:r>
              <a:rPr lang="en-GB" noProof="0"/>
              <a:t>Dritte Ebene, Franklin Gothic Book, 14pt</a:t>
            </a:r>
          </a:p>
          <a:p>
            <a:pPr lvl="3"/>
            <a:r>
              <a:rPr lang="en-GB" noProof="0"/>
              <a:t>Vierte Ebene, Franklin Gothic Book, 14pt</a:t>
            </a:r>
          </a:p>
          <a:p>
            <a:pPr lvl="4"/>
            <a:r>
              <a:rPr lang="en-GB" noProof="0"/>
              <a:t>Fünfte Ebene, Franklin Gothic Book, 14pt</a:t>
            </a:r>
          </a:p>
          <a:p>
            <a:pPr lvl="5"/>
            <a:r>
              <a:rPr lang="en-GB" noProof="0"/>
              <a:t>Sechste Ebene, Franklin Gothic Book, 14pt</a:t>
            </a:r>
          </a:p>
          <a:p>
            <a:pPr lvl="6"/>
            <a:r>
              <a:rPr lang="en-GB" noProof="0"/>
              <a:t>Siebte Ebene, Franklin Gothic Book, 14pt</a:t>
            </a:r>
          </a:p>
          <a:p>
            <a:pPr lvl="7"/>
            <a:r>
              <a:rPr lang="en-GB" noProof="0"/>
              <a:t>Achte Ebene, Franklin Gothic Book, 14pt</a:t>
            </a:r>
          </a:p>
          <a:p>
            <a:pPr lvl="8"/>
            <a:r>
              <a:rPr lang="en-GB" noProof="0"/>
              <a:t>Neunte Ebene, Franklin Gothic Book, 14p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5EFFB8-8C2C-FF53-AEFD-963F5F2AA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2650" y="6468806"/>
            <a:ext cx="561974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80000"/>
              </a:lnSpc>
              <a:defRPr sz="1000" b="1">
                <a:solidFill>
                  <a:schemeClr val="tx1"/>
                </a:solidFill>
              </a:defRPr>
            </a:lvl1pPr>
          </a:lstStyle>
          <a:p>
            <a:fld id="{E4E86D05-C121-4A60-9A22-18C5549D6ECB}" type="slidenum">
              <a:rPr lang="en-GB" noProof="0" smtClean="0"/>
              <a:pPr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0011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48" r:id="rId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8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Font typeface="Verdana" panose="020B0604030504040204" pitchFamily="34" charset="0"/>
        <a:buChar char="›"/>
        <a:defRPr lang="de-DE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>
          <p15:clr>
            <a:srgbClr val="F26B43"/>
          </p15:clr>
        </p15:guide>
        <p15:guide id="2" orient="horz" pos="391">
          <p15:clr>
            <a:srgbClr val="F26B43"/>
          </p15:clr>
        </p15:guide>
        <p15:guide id="3" pos="7310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11B35A7-3849-40FF-A381-53C89DBE14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688" y="1830844"/>
            <a:ext cx="6516000" cy="1772793"/>
          </a:xfrm>
        </p:spPr>
        <p:txBody>
          <a:bodyPr/>
          <a:lstStyle/>
          <a:p>
            <a:r>
              <a:rPr lang="en-GB" dirty="0"/>
              <a:t>Title, </a:t>
            </a:r>
            <a:br>
              <a:rPr lang="en-GB" dirty="0"/>
            </a:br>
            <a:r>
              <a:rPr lang="en-GB" dirty="0"/>
              <a:t>Franklin Gothic Medium, 48pt</a:t>
            </a:r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89B9F0DC-A7E7-4D91-8489-F5476710C9A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913EFFD-0541-4BCC-8C2E-3E7170595D9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</p:spTree>
    <p:extLst>
      <p:ext uri="{BB962C8B-B14F-4D97-AF65-F5344CB8AC3E}">
        <p14:creationId xmlns:p14="http://schemas.microsoft.com/office/powerpoint/2010/main" val="2086910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6250ABD-76F3-43EE-82A7-0D4766DFF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le, Franklin </a:t>
            </a:r>
            <a:r>
              <a:rPr lang="de-DE" dirty="0" err="1"/>
              <a:t>Gothic</a:t>
            </a:r>
            <a:r>
              <a:rPr lang="de-DE" dirty="0"/>
              <a:t> Book, 28p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B6228EA-F250-49A4-B44C-024CC6CBAE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E86D05-C121-4A60-9A22-18C5549D6ECB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72BF849-62F2-46E2-9868-64B4198C9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00B21B2-17A7-43CF-8F80-47B8303C00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First level, Franklin Gothic Book, 14pt</a:t>
            </a:r>
            <a:endParaRPr lang="de-DE" dirty="0"/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Second level, Franklin Gothic Book, 14pt</a:t>
            </a:r>
            <a:endParaRPr lang="de-DE" dirty="0"/>
          </a:p>
          <a:p>
            <a:pPr marL="54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Third level, Franklin Gothic Book, 14pt</a:t>
            </a:r>
            <a:endParaRPr lang="de-DE" dirty="0"/>
          </a:p>
          <a:p>
            <a:pPr lvl="3"/>
            <a:r>
              <a:rPr lang="en-GB" noProof="0" dirty="0"/>
              <a:t>Fourth level, Franklin Gothic Book, 14pt</a:t>
            </a:r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3AD560CA-F709-4654-ACF0-9ACF0869B8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</p:spTree>
    <p:extLst>
      <p:ext uri="{BB962C8B-B14F-4D97-AF65-F5344CB8AC3E}">
        <p14:creationId xmlns:p14="http://schemas.microsoft.com/office/powerpoint/2010/main" val="631535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9F47EF6-392F-4AE9-9A8F-158CDF84A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!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921DEFC-6049-420C-BF46-1368459C5E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3653664-87FB-46F8-BB50-FC39B6DA22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688" y="5662166"/>
            <a:ext cx="2311401" cy="538609"/>
          </a:xfrm>
        </p:spPr>
        <p:txBody>
          <a:bodyPr/>
          <a:lstStyle/>
          <a:p>
            <a:pPr lvl="0"/>
            <a:r>
              <a:rPr lang="en-GB" noProof="0" dirty="0"/>
              <a:t>Position </a:t>
            </a:r>
          </a:p>
          <a:p>
            <a:pPr lvl="0"/>
            <a:r>
              <a:rPr lang="en-GB" noProof="0" dirty="0"/>
              <a:t>Contact Details</a:t>
            </a:r>
          </a:p>
          <a:p>
            <a:pPr lvl="0"/>
            <a:r>
              <a:rPr lang="en-GB" noProof="0" dirty="0"/>
              <a:t>(E-mail, LinkedIn/QR Code, …)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4F728A83-14B5-4385-885A-FC8E34575F5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9894811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ESB Template">
  <a:themeElements>
    <a:clrScheme name="ESB Farben">
      <a:dk1>
        <a:sysClr val="windowText" lastClr="000000"/>
      </a:dk1>
      <a:lt1>
        <a:sysClr val="window" lastClr="FFFFFF"/>
      </a:lt1>
      <a:dk2>
        <a:srgbClr val="E6E6E6"/>
      </a:dk2>
      <a:lt2>
        <a:srgbClr val="12235B"/>
      </a:lt2>
      <a:accent1>
        <a:srgbClr val="12235B"/>
      </a:accent1>
      <a:accent2>
        <a:srgbClr val="0B72B5"/>
      </a:accent2>
      <a:accent3>
        <a:srgbClr val="8D99B0"/>
      </a:accent3>
      <a:accent4>
        <a:srgbClr val="4F6D5F"/>
      </a:accent4>
      <a:accent5>
        <a:srgbClr val="9B3A48"/>
      </a:accent5>
      <a:accent6>
        <a:srgbClr val="EBE13C"/>
      </a:accent6>
      <a:hlink>
        <a:srgbClr val="0B72B5"/>
      </a:hlink>
      <a:folHlink>
        <a:srgbClr val="8D99B0"/>
      </a:folHlink>
    </a:clrScheme>
    <a:fontScheme name="ESB Schriften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rgbClr val="12235B"/>
            </a:gs>
            <a:gs pos="100000">
              <a:srgbClr val="0B72B5"/>
            </a:gs>
          </a:gsLst>
          <a:lin ang="0" scaled="1"/>
          <a:tileRect/>
        </a:gra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ESB Farben">
      <a:dk1>
        <a:sysClr val="windowText" lastClr="000000"/>
      </a:dk1>
      <a:lt1>
        <a:sysClr val="window" lastClr="FFFFFF"/>
      </a:lt1>
      <a:dk2>
        <a:srgbClr val="E6E6E6"/>
      </a:dk2>
      <a:lt2>
        <a:srgbClr val="12235B"/>
      </a:lt2>
      <a:accent1>
        <a:srgbClr val="12235B"/>
      </a:accent1>
      <a:accent2>
        <a:srgbClr val="0B72B5"/>
      </a:accent2>
      <a:accent3>
        <a:srgbClr val="8D99B0"/>
      </a:accent3>
      <a:accent4>
        <a:srgbClr val="4F6D5F"/>
      </a:accent4>
      <a:accent5>
        <a:srgbClr val="9B3A48"/>
      </a:accent5>
      <a:accent6>
        <a:srgbClr val="EBE13C"/>
      </a:accent6>
      <a:hlink>
        <a:srgbClr val="0B72B5"/>
      </a:hlink>
      <a:folHlink>
        <a:srgbClr val="8D99B0"/>
      </a:folHlink>
    </a:clrScheme>
    <a:fontScheme name="ESB Schriften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SB Farben">
      <a:dk1>
        <a:sysClr val="windowText" lastClr="000000"/>
      </a:dk1>
      <a:lt1>
        <a:sysClr val="window" lastClr="FFFFFF"/>
      </a:lt1>
      <a:dk2>
        <a:srgbClr val="E6E6E6"/>
      </a:dk2>
      <a:lt2>
        <a:srgbClr val="12235B"/>
      </a:lt2>
      <a:accent1>
        <a:srgbClr val="12235B"/>
      </a:accent1>
      <a:accent2>
        <a:srgbClr val="0B72B5"/>
      </a:accent2>
      <a:accent3>
        <a:srgbClr val="8D99B0"/>
      </a:accent3>
      <a:accent4>
        <a:srgbClr val="4F6D5F"/>
      </a:accent4>
      <a:accent5>
        <a:srgbClr val="9B3A48"/>
      </a:accent5>
      <a:accent6>
        <a:srgbClr val="EBE13C"/>
      </a:accent6>
      <a:hlink>
        <a:srgbClr val="0B72B5"/>
      </a:hlink>
      <a:folHlink>
        <a:srgbClr val="8D99B0"/>
      </a:folHlink>
    </a:clrScheme>
    <a:fontScheme name="ESB Schriften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88F82E61C1874FB7BA317F0CE04D34" ma:contentTypeVersion="11" ma:contentTypeDescription="Ein neues Dokument erstellen." ma:contentTypeScope="" ma:versionID="1fb9adef2156f55d5a70d1955a2e41d4">
  <xsd:schema xmlns:xsd="http://www.w3.org/2001/XMLSchema" xmlns:xs="http://www.w3.org/2001/XMLSchema" xmlns:p="http://schemas.microsoft.com/office/2006/metadata/properties" xmlns:ns2="86bbbeaa-ead6-4f1f-827b-c7f0c91ad5af" xmlns:ns3="8aff409e-40e3-4040-ba7b-fc199ae9ae5c" targetNamespace="http://schemas.microsoft.com/office/2006/metadata/properties" ma:root="true" ma:fieldsID="3c0d243840384ad789f91602095aa940" ns2:_="" ns3:_="">
    <xsd:import namespace="86bbbeaa-ead6-4f1f-827b-c7f0c91ad5af"/>
    <xsd:import namespace="8aff409e-40e3-4040-ba7b-fc199ae9ae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bbbeaa-ead6-4f1f-827b-c7f0c91ad5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6159e26-e387-4955-8c38-302e604e49c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ff409e-40e3-4040-ba7b-fc199ae9ae5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98eb0124-b026-49bd-9f91-b2358eb6bd62}" ma:internalName="TaxCatchAll" ma:showField="CatchAllData" ma:web="8aff409e-40e3-4040-ba7b-fc199ae9ae5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C92755-EF8F-4E48-B9CD-DBF87AFD92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bbbeaa-ead6-4f1f-827b-c7f0c91ad5af"/>
    <ds:schemaRef ds:uri="8aff409e-40e3-4040-ba7b-fc199ae9ae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C95FCE-FD78-47A5-958A-DC3B4AAB75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3</Words>
  <Application>Microsoft Office PowerPoint</Application>
  <PresentationFormat>Breitbild</PresentationFormat>
  <Paragraphs>11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Arial</vt:lpstr>
      <vt:lpstr>Franklin Gothic Book</vt:lpstr>
      <vt:lpstr>Franklin Gothic Medium</vt:lpstr>
      <vt:lpstr>Symbol</vt:lpstr>
      <vt:lpstr>Verdana</vt:lpstr>
      <vt:lpstr>Wingdings</vt:lpstr>
      <vt:lpstr>3_ESB Template</vt:lpstr>
      <vt:lpstr>think-cell Folie</vt:lpstr>
      <vt:lpstr>Title,  Franklin Gothic Medium, 48pt</vt:lpstr>
      <vt:lpstr>Title, Franklin Gothic Book, 28pt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pport | i-pointing</dc:creator>
  <cp:lastModifiedBy>Schuhmacher, Jan</cp:lastModifiedBy>
  <cp:revision>45</cp:revision>
  <dcterms:created xsi:type="dcterms:W3CDTF">2022-08-08T14:01:37Z</dcterms:created>
  <dcterms:modified xsi:type="dcterms:W3CDTF">2023-04-05T16:04:45Z</dcterms:modified>
</cp:coreProperties>
</file>